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5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6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7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8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9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0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3" r:id="rId4"/>
    <p:sldMasterId id="2147483656" r:id="rId5"/>
    <p:sldMasterId id="2147483841" r:id="rId6"/>
    <p:sldMasterId id="2147483661" r:id="rId7"/>
    <p:sldMasterId id="2147483847" r:id="rId8"/>
    <p:sldMasterId id="2147483663" r:id="rId9"/>
    <p:sldMasterId id="2147483689" r:id="rId10"/>
    <p:sldMasterId id="2147483695" r:id="rId11"/>
    <p:sldMasterId id="2147483675" r:id="rId12"/>
  </p:sldMasterIdLst>
  <p:notesMasterIdLst>
    <p:notesMasterId r:id="rId24"/>
  </p:notesMasterIdLst>
  <p:sldIdLst>
    <p:sldId id="2134806150" r:id="rId13"/>
    <p:sldId id="2134806144" r:id="rId14"/>
    <p:sldId id="2134806152" r:id="rId15"/>
    <p:sldId id="2134806145" r:id="rId16"/>
    <p:sldId id="2134806153" r:id="rId17"/>
    <p:sldId id="2134806154" r:id="rId18"/>
    <p:sldId id="2134806155" r:id="rId19"/>
    <p:sldId id="2134806156" r:id="rId20"/>
    <p:sldId id="2134806157" r:id="rId21"/>
    <p:sldId id="2134806158" r:id="rId22"/>
    <p:sldId id="277" r:id="rId23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BEF3"/>
    <a:srgbClr val="3B3B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FF27C99-1CCC-4513-9E6D-4A2181125B01}" v="61" dt="2025-03-26T16:52:41.04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234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34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9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BA16AD-05E3-4205-A560-CDCC67D4ADB8}" type="datetimeFigureOut">
              <a:rPr lang="en-GB" smtClean="0"/>
              <a:t>27/03/2025</a:t>
            </a:fld>
            <a:endParaRPr lang="en-GB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B9033B-90D4-4B61-AFA0-FDA862D10D2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5125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9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9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9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9.png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12" Type="http://schemas.openxmlformats.org/officeDocument/2006/relationships/image" Target="../media/image31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5" Type="http://schemas.openxmlformats.org/officeDocument/2006/relationships/image" Target="../media/image34.pn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Relationship Id="rId14" Type="http://schemas.openxmlformats.org/officeDocument/2006/relationships/image" Target="../media/image33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12" Type="http://schemas.openxmlformats.org/officeDocument/2006/relationships/image" Target="../media/image31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5" Type="http://schemas.openxmlformats.org/officeDocument/2006/relationships/image" Target="../media/image34.pn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Relationship Id="rId14" Type="http://schemas.openxmlformats.org/officeDocument/2006/relationships/image" Target="../media/image33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4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4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5" Type="http://schemas.openxmlformats.org/officeDocument/2006/relationships/image" Target="../media/image33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Relationship Id="rId14" Type="http://schemas.openxmlformats.org/officeDocument/2006/relationships/image" Target="../media/image32.png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6.emf"/><Relationship Id="rId4" Type="http://schemas.openxmlformats.org/officeDocument/2006/relationships/oleObject" Target="../embeddings/oleObject1.bin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9.pn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itre 1">
            <a:extLst>
              <a:ext uri="{FF2B5EF4-FFF2-40B4-BE49-F238E27FC236}">
                <a16:creationId xmlns:a16="http://schemas.microsoft.com/office/drawing/2014/main" id="{39545673-F5C0-563C-4E70-A8FFE5F0E8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2016000"/>
            <a:ext cx="10752863" cy="36933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fr-FR" err="1"/>
              <a:t>Title</a:t>
            </a:r>
            <a:endParaRPr lang="en-GB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AAE66CCE-D3BA-FB85-6138-BCA60ACF3B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138" y="2304000"/>
            <a:ext cx="10753725" cy="877163"/>
          </a:xfrm>
        </p:spPr>
        <p:txBody>
          <a:bodyPr/>
          <a:lstStyle>
            <a:lvl1pPr>
              <a:spcAft>
                <a:spcPts val="1800"/>
              </a:spcAft>
              <a:defRPr/>
            </a:lvl1pPr>
            <a:lvl2pPr>
              <a:defRPr/>
            </a:lvl2pPr>
          </a:lstStyle>
          <a:p>
            <a:pPr lvl="0"/>
            <a:r>
              <a:rPr lang="fr-FR" err="1"/>
              <a:t>Sub-title</a:t>
            </a:r>
            <a:endParaRPr lang="fr-FR"/>
          </a:p>
          <a:p>
            <a:pPr lvl="1"/>
            <a:r>
              <a:rPr lang="fr-FR" err="1"/>
              <a:t>Text</a:t>
            </a:r>
            <a:endParaRPr lang="fr-FR"/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477B7B38-0E39-25D6-23B7-8D808E72DCC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138" y="468000"/>
            <a:ext cx="10753725" cy="307777"/>
          </a:xfrm>
        </p:spPr>
        <p:txBody>
          <a:bodyPr/>
          <a:lstStyle>
            <a:lvl1pPr>
              <a:spcAft>
                <a:spcPts val="0"/>
              </a:spcAft>
              <a:defRPr sz="2000" cap="all" baseline="0">
                <a:solidFill>
                  <a:schemeClr val="accent1"/>
                </a:solidFill>
                <a:latin typeface="BNPP Sans Condensed" panose="02000000000000000000" pitchFamily="2" charset="0"/>
              </a:defRPr>
            </a:lvl1pPr>
            <a:lvl2pPr>
              <a:defRPr/>
            </a:lvl2pPr>
          </a:lstStyle>
          <a:p>
            <a:pPr lvl="0"/>
            <a:r>
              <a:rPr lang="fr-FR" err="1"/>
              <a:t>Chapter</a:t>
            </a:r>
            <a:r>
              <a:rPr lang="fr-FR"/>
              <a:t> </a:t>
            </a:r>
            <a:r>
              <a:rPr lang="fr-FR" err="1"/>
              <a:t>title</a:t>
            </a:r>
            <a:r>
              <a:rPr lang="fr-FR"/>
              <a:t> on one line</a:t>
            </a:r>
          </a:p>
        </p:txBody>
      </p:sp>
    </p:spTree>
    <p:extLst>
      <p:ext uri="{BB962C8B-B14F-4D97-AF65-F5344CB8AC3E}">
        <p14:creationId xmlns:p14="http://schemas.microsoft.com/office/powerpoint/2010/main" val="2980266455"/>
      </p:ext>
    </p:extLst>
  </p:cSld>
  <p:clrMapOvr>
    <a:masterClrMapping/>
  </p:clrMapOvr>
  <p:transition spd="slow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558C25F-3FD7-1C30-3C5A-6312B92E57BB}"/>
              </a:ext>
            </a:extLst>
          </p:cNvPr>
          <p:cNvSpPr/>
          <p:nvPr userDrawn="1"/>
        </p:nvSpPr>
        <p:spPr>
          <a:xfrm>
            <a:off x="324000" y="323999"/>
            <a:ext cx="11545200" cy="5364000"/>
          </a:xfrm>
          <a:prstGeom prst="rect">
            <a:avLst/>
          </a:prstGeom>
          <a:gradFill>
            <a:gsLst>
              <a:gs pos="0">
                <a:schemeClr val="accent3"/>
              </a:gs>
              <a:gs pos="50000">
                <a:srgbClr val="4CCA7D"/>
              </a:gs>
              <a:gs pos="100000">
                <a:schemeClr val="tx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/>
          </a:p>
        </p:txBody>
      </p:sp>
      <p:sp>
        <p:nvSpPr>
          <p:cNvPr id="11" name="Forme libre : forme 10">
            <a:extLst>
              <a:ext uri="{FF2B5EF4-FFF2-40B4-BE49-F238E27FC236}">
                <a16:creationId xmlns:a16="http://schemas.microsoft.com/office/drawing/2014/main" id="{3FDEB0B5-807A-B5CE-1065-77F6E012BF8C}"/>
              </a:ext>
            </a:extLst>
          </p:cNvPr>
          <p:cNvSpPr/>
          <p:nvPr/>
        </p:nvSpPr>
        <p:spPr>
          <a:xfrm>
            <a:off x="324001" y="323999"/>
            <a:ext cx="8423553" cy="5364000"/>
          </a:xfrm>
          <a:custGeom>
            <a:avLst/>
            <a:gdLst>
              <a:gd name="connsiteX0" fmla="*/ 1230456 w 8423553"/>
              <a:gd name="connsiteY0" fmla="*/ 0 h 5364000"/>
              <a:gd name="connsiteX1" fmla="*/ 3700444 w 8423553"/>
              <a:gd name="connsiteY1" fmla="*/ 0 h 5364000"/>
              <a:gd name="connsiteX2" fmla="*/ 3732289 w 8423553"/>
              <a:gd name="connsiteY2" fmla="*/ 9770 h 5364000"/>
              <a:gd name="connsiteX3" fmla="*/ 6265911 w 8423553"/>
              <a:gd name="connsiteY3" fmla="*/ 1092375 h 5364000"/>
              <a:gd name="connsiteX4" fmla="*/ 8423553 w 8423553"/>
              <a:gd name="connsiteY4" fmla="*/ 819563 h 5364000"/>
              <a:gd name="connsiteX5" fmla="*/ 8423553 w 8423553"/>
              <a:gd name="connsiteY5" fmla="*/ 819691 h 5364000"/>
              <a:gd name="connsiteX6" fmla="*/ 7140187 w 8423553"/>
              <a:gd name="connsiteY6" fmla="*/ 2200072 h 5364000"/>
              <a:gd name="connsiteX7" fmla="*/ 6981774 w 8423553"/>
              <a:gd name="connsiteY7" fmla="*/ 5048351 h 5364000"/>
              <a:gd name="connsiteX8" fmla="*/ 6928290 w 8423553"/>
              <a:gd name="connsiteY8" fmla="*/ 5364000 h 5364000"/>
              <a:gd name="connsiteX9" fmla="*/ 6014529 w 8423553"/>
              <a:gd name="connsiteY9" fmla="*/ 5364000 h 5364000"/>
              <a:gd name="connsiteX10" fmla="*/ 5977330 w 8423553"/>
              <a:gd name="connsiteY10" fmla="*/ 5117940 h 5364000"/>
              <a:gd name="connsiteX11" fmla="*/ 5385262 w 8423553"/>
              <a:gd name="connsiteY11" fmla="*/ 3312357 h 5364000"/>
              <a:gd name="connsiteX12" fmla="*/ 1690456 w 8423553"/>
              <a:gd name="connsiteY12" fmla="*/ 5318255 h 5364000"/>
              <a:gd name="connsiteX13" fmla="*/ 1596363 w 8423553"/>
              <a:gd name="connsiteY13" fmla="*/ 5364000 h 5364000"/>
              <a:gd name="connsiteX14" fmla="*/ 1467310 w 8423553"/>
              <a:gd name="connsiteY14" fmla="*/ 5364000 h 5364000"/>
              <a:gd name="connsiteX15" fmla="*/ 1586013 w 8423553"/>
              <a:gd name="connsiteY15" fmla="*/ 5241934 h 5364000"/>
              <a:gd name="connsiteX16" fmla="*/ 3449821 w 8423553"/>
              <a:gd name="connsiteY16" fmla="*/ 2864383 h 5364000"/>
              <a:gd name="connsiteX17" fmla="*/ 525307 w 8423553"/>
              <a:gd name="connsiteY17" fmla="*/ 3092752 h 5364000"/>
              <a:gd name="connsiteX18" fmla="*/ 0 w 8423553"/>
              <a:gd name="connsiteY18" fmla="*/ 3153257 h 5364000"/>
              <a:gd name="connsiteX19" fmla="*/ 0 w 8423553"/>
              <a:gd name="connsiteY19" fmla="*/ 2548460 h 5364000"/>
              <a:gd name="connsiteX20" fmla="*/ 600267 w 8423553"/>
              <a:gd name="connsiteY20" fmla="*/ 2351967 h 5364000"/>
              <a:gd name="connsiteX21" fmla="*/ 3700325 w 8423553"/>
              <a:gd name="connsiteY21" fmla="*/ 1608553 h 5364000"/>
              <a:gd name="connsiteX22" fmla="*/ 1450502 w 8423553"/>
              <a:gd name="connsiteY22" fmla="*/ 121565 h 53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8423553" h="5364000">
                <a:moveTo>
                  <a:pt x="1230456" y="0"/>
                </a:moveTo>
                <a:lnTo>
                  <a:pt x="3700444" y="0"/>
                </a:lnTo>
                <a:lnTo>
                  <a:pt x="3732289" y="9770"/>
                </a:lnTo>
                <a:cubicBezTo>
                  <a:pt x="4749949" y="335127"/>
                  <a:pt x="5650895" y="716350"/>
                  <a:pt x="6265911" y="1092375"/>
                </a:cubicBezTo>
                <a:cubicBezTo>
                  <a:pt x="7119279" y="852198"/>
                  <a:pt x="8123333" y="787437"/>
                  <a:pt x="8423553" y="819563"/>
                </a:cubicBezTo>
                <a:lnTo>
                  <a:pt x="8423553" y="819691"/>
                </a:lnTo>
                <a:cubicBezTo>
                  <a:pt x="8259993" y="1206728"/>
                  <a:pt x="7915409" y="1626528"/>
                  <a:pt x="7140187" y="2200072"/>
                </a:cubicBezTo>
                <a:cubicBezTo>
                  <a:pt x="7280099" y="2573978"/>
                  <a:pt x="7182926" y="3789780"/>
                  <a:pt x="6981774" y="5048351"/>
                </a:cubicBezTo>
                <a:lnTo>
                  <a:pt x="6928290" y="5364000"/>
                </a:lnTo>
                <a:lnTo>
                  <a:pt x="6014529" y="5364000"/>
                </a:lnTo>
                <a:lnTo>
                  <a:pt x="5977330" y="5117940"/>
                </a:lnTo>
                <a:cubicBezTo>
                  <a:pt x="5854144" y="4374768"/>
                  <a:pt x="5666918" y="3725974"/>
                  <a:pt x="5385262" y="3312357"/>
                </a:cubicBezTo>
                <a:cubicBezTo>
                  <a:pt x="3805634" y="4241705"/>
                  <a:pt x="3307017" y="4529593"/>
                  <a:pt x="1690456" y="5318255"/>
                </a:cubicBezTo>
                <a:lnTo>
                  <a:pt x="1596363" y="5364000"/>
                </a:lnTo>
                <a:lnTo>
                  <a:pt x="1467310" y="5364000"/>
                </a:lnTo>
                <a:lnTo>
                  <a:pt x="1586013" y="5241934"/>
                </a:lnTo>
                <a:cubicBezTo>
                  <a:pt x="2730267" y="4037049"/>
                  <a:pt x="3449821" y="2864383"/>
                  <a:pt x="3449821" y="2864383"/>
                </a:cubicBezTo>
                <a:cubicBezTo>
                  <a:pt x="2605313" y="2909066"/>
                  <a:pt x="1569262" y="2982241"/>
                  <a:pt x="525307" y="3092752"/>
                </a:cubicBezTo>
                <a:lnTo>
                  <a:pt x="0" y="3153257"/>
                </a:lnTo>
                <a:lnTo>
                  <a:pt x="0" y="2548460"/>
                </a:lnTo>
                <a:lnTo>
                  <a:pt x="600267" y="2351967"/>
                </a:lnTo>
                <a:cubicBezTo>
                  <a:pt x="1746814" y="1996578"/>
                  <a:pt x="2902220" y="1716148"/>
                  <a:pt x="3700325" y="1608553"/>
                </a:cubicBezTo>
                <a:cubicBezTo>
                  <a:pt x="3491939" y="1320857"/>
                  <a:pt x="2452665" y="681549"/>
                  <a:pt x="1450502" y="121565"/>
                </a:cubicBezTo>
                <a:close/>
              </a:path>
            </a:pathLst>
          </a:custGeom>
          <a:solidFill>
            <a:schemeClr val="accent2">
              <a:alpha val="5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E65764E0-AB6E-2B6A-5ABA-EA835CFBFAB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165" y="3686842"/>
            <a:ext cx="2811667" cy="384721"/>
          </a:xfrm>
        </p:spPr>
        <p:txBody>
          <a:bodyPr wrap="none"/>
          <a:lstStyle>
            <a:lvl1pPr marL="0" indent="0" algn="ctr">
              <a:buNone/>
              <a:defRPr sz="2500" cap="all" baseline="0">
                <a:latin typeface="BNPP Expanded Sans" panose="020000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err="1"/>
              <a:t>Subtitle</a:t>
            </a:r>
            <a:r>
              <a:rPr lang="fr-FR"/>
              <a:t> </a:t>
            </a:r>
            <a:r>
              <a:rPr lang="fr-FR" err="1"/>
              <a:t>here</a:t>
            </a:r>
            <a:endParaRPr lang="en-GB"/>
          </a:p>
        </p:txBody>
      </p:sp>
      <p:sp>
        <p:nvSpPr>
          <p:cNvPr id="7" name="Espace réservé du titre 1">
            <a:extLst>
              <a:ext uri="{FF2B5EF4-FFF2-40B4-BE49-F238E27FC236}">
                <a16:creationId xmlns:a16="http://schemas.microsoft.com/office/drawing/2014/main" id="{88A445C9-42EC-235D-F3F7-C021A1EBBC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63329" y="1960543"/>
            <a:ext cx="9065342" cy="166776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b="1"/>
            </a:lvl1pPr>
          </a:lstStyle>
          <a:p>
            <a:r>
              <a:rPr lang="fr-FR" err="1"/>
              <a:t>Presentation</a:t>
            </a:r>
            <a:r>
              <a:rPr lang="fr-FR"/>
              <a:t> </a:t>
            </a:r>
            <a:r>
              <a:rPr lang="fr-FR" err="1"/>
              <a:t>title</a:t>
            </a:r>
            <a:br>
              <a:rPr lang="fr-FR"/>
            </a:br>
            <a:r>
              <a:rPr lang="fr-FR"/>
              <a:t>on multi-</a:t>
            </a:r>
            <a:r>
              <a:rPr lang="fr-FR" err="1"/>
              <a:t>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8982818"/>
      </p:ext>
    </p:extLst>
  </p:cSld>
  <p:clrMapOvr>
    <a:masterClrMapping/>
  </p:clrMapOvr>
  <p:transition spd="slow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83DF6A7-4E31-B658-74E2-501F798042F4}"/>
              </a:ext>
            </a:extLst>
          </p:cNvPr>
          <p:cNvSpPr/>
          <p:nvPr userDrawn="1"/>
        </p:nvSpPr>
        <p:spPr>
          <a:xfrm>
            <a:off x="324000" y="323999"/>
            <a:ext cx="11545200" cy="5364000"/>
          </a:xfrm>
          <a:prstGeom prst="rect">
            <a:avLst/>
          </a:prstGeom>
          <a:solidFill>
            <a:srgbClr val="3B3BD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/>
          </a:p>
        </p:txBody>
      </p:sp>
      <p:sp>
        <p:nvSpPr>
          <p:cNvPr id="11" name="Forme libre : forme 10">
            <a:extLst>
              <a:ext uri="{FF2B5EF4-FFF2-40B4-BE49-F238E27FC236}">
                <a16:creationId xmlns:a16="http://schemas.microsoft.com/office/drawing/2014/main" id="{3FDEB0B5-807A-B5CE-1065-77F6E012BF8C}"/>
              </a:ext>
            </a:extLst>
          </p:cNvPr>
          <p:cNvSpPr/>
          <p:nvPr/>
        </p:nvSpPr>
        <p:spPr>
          <a:xfrm>
            <a:off x="324001" y="323999"/>
            <a:ext cx="8423553" cy="5364000"/>
          </a:xfrm>
          <a:custGeom>
            <a:avLst/>
            <a:gdLst>
              <a:gd name="connsiteX0" fmla="*/ 1230456 w 8423553"/>
              <a:gd name="connsiteY0" fmla="*/ 0 h 5364000"/>
              <a:gd name="connsiteX1" fmla="*/ 3700444 w 8423553"/>
              <a:gd name="connsiteY1" fmla="*/ 0 h 5364000"/>
              <a:gd name="connsiteX2" fmla="*/ 3732289 w 8423553"/>
              <a:gd name="connsiteY2" fmla="*/ 9770 h 5364000"/>
              <a:gd name="connsiteX3" fmla="*/ 6265911 w 8423553"/>
              <a:gd name="connsiteY3" fmla="*/ 1092375 h 5364000"/>
              <a:gd name="connsiteX4" fmla="*/ 8423553 w 8423553"/>
              <a:gd name="connsiteY4" fmla="*/ 819563 h 5364000"/>
              <a:gd name="connsiteX5" fmla="*/ 8423553 w 8423553"/>
              <a:gd name="connsiteY5" fmla="*/ 819691 h 5364000"/>
              <a:gd name="connsiteX6" fmla="*/ 7140187 w 8423553"/>
              <a:gd name="connsiteY6" fmla="*/ 2200072 h 5364000"/>
              <a:gd name="connsiteX7" fmla="*/ 6981774 w 8423553"/>
              <a:gd name="connsiteY7" fmla="*/ 5048351 h 5364000"/>
              <a:gd name="connsiteX8" fmla="*/ 6928290 w 8423553"/>
              <a:gd name="connsiteY8" fmla="*/ 5364000 h 5364000"/>
              <a:gd name="connsiteX9" fmla="*/ 6014529 w 8423553"/>
              <a:gd name="connsiteY9" fmla="*/ 5364000 h 5364000"/>
              <a:gd name="connsiteX10" fmla="*/ 5977330 w 8423553"/>
              <a:gd name="connsiteY10" fmla="*/ 5117940 h 5364000"/>
              <a:gd name="connsiteX11" fmla="*/ 5385262 w 8423553"/>
              <a:gd name="connsiteY11" fmla="*/ 3312357 h 5364000"/>
              <a:gd name="connsiteX12" fmla="*/ 1690456 w 8423553"/>
              <a:gd name="connsiteY12" fmla="*/ 5318255 h 5364000"/>
              <a:gd name="connsiteX13" fmla="*/ 1596363 w 8423553"/>
              <a:gd name="connsiteY13" fmla="*/ 5364000 h 5364000"/>
              <a:gd name="connsiteX14" fmla="*/ 1467310 w 8423553"/>
              <a:gd name="connsiteY14" fmla="*/ 5364000 h 5364000"/>
              <a:gd name="connsiteX15" fmla="*/ 1586013 w 8423553"/>
              <a:gd name="connsiteY15" fmla="*/ 5241934 h 5364000"/>
              <a:gd name="connsiteX16" fmla="*/ 3449821 w 8423553"/>
              <a:gd name="connsiteY16" fmla="*/ 2864383 h 5364000"/>
              <a:gd name="connsiteX17" fmla="*/ 525307 w 8423553"/>
              <a:gd name="connsiteY17" fmla="*/ 3092752 h 5364000"/>
              <a:gd name="connsiteX18" fmla="*/ 0 w 8423553"/>
              <a:gd name="connsiteY18" fmla="*/ 3153257 h 5364000"/>
              <a:gd name="connsiteX19" fmla="*/ 0 w 8423553"/>
              <a:gd name="connsiteY19" fmla="*/ 2548460 h 5364000"/>
              <a:gd name="connsiteX20" fmla="*/ 600267 w 8423553"/>
              <a:gd name="connsiteY20" fmla="*/ 2351967 h 5364000"/>
              <a:gd name="connsiteX21" fmla="*/ 3700325 w 8423553"/>
              <a:gd name="connsiteY21" fmla="*/ 1608553 h 5364000"/>
              <a:gd name="connsiteX22" fmla="*/ 1450502 w 8423553"/>
              <a:gd name="connsiteY22" fmla="*/ 121565 h 53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8423553" h="5364000">
                <a:moveTo>
                  <a:pt x="1230456" y="0"/>
                </a:moveTo>
                <a:lnTo>
                  <a:pt x="3700444" y="0"/>
                </a:lnTo>
                <a:lnTo>
                  <a:pt x="3732289" y="9770"/>
                </a:lnTo>
                <a:cubicBezTo>
                  <a:pt x="4749949" y="335127"/>
                  <a:pt x="5650895" y="716350"/>
                  <a:pt x="6265911" y="1092375"/>
                </a:cubicBezTo>
                <a:cubicBezTo>
                  <a:pt x="7119279" y="852198"/>
                  <a:pt x="8123333" y="787437"/>
                  <a:pt x="8423553" y="819563"/>
                </a:cubicBezTo>
                <a:lnTo>
                  <a:pt x="8423553" y="819691"/>
                </a:lnTo>
                <a:cubicBezTo>
                  <a:pt x="8259993" y="1206728"/>
                  <a:pt x="7915409" y="1626528"/>
                  <a:pt x="7140187" y="2200072"/>
                </a:cubicBezTo>
                <a:cubicBezTo>
                  <a:pt x="7280099" y="2573978"/>
                  <a:pt x="7182926" y="3789780"/>
                  <a:pt x="6981774" y="5048351"/>
                </a:cubicBezTo>
                <a:lnTo>
                  <a:pt x="6928290" y="5364000"/>
                </a:lnTo>
                <a:lnTo>
                  <a:pt x="6014529" y="5364000"/>
                </a:lnTo>
                <a:lnTo>
                  <a:pt x="5977330" y="5117940"/>
                </a:lnTo>
                <a:cubicBezTo>
                  <a:pt x="5854144" y="4374768"/>
                  <a:pt x="5666918" y="3725974"/>
                  <a:pt x="5385262" y="3312357"/>
                </a:cubicBezTo>
                <a:cubicBezTo>
                  <a:pt x="3805634" y="4241705"/>
                  <a:pt x="3307017" y="4529593"/>
                  <a:pt x="1690456" y="5318255"/>
                </a:cubicBezTo>
                <a:lnTo>
                  <a:pt x="1596363" y="5364000"/>
                </a:lnTo>
                <a:lnTo>
                  <a:pt x="1467310" y="5364000"/>
                </a:lnTo>
                <a:lnTo>
                  <a:pt x="1586013" y="5241934"/>
                </a:lnTo>
                <a:cubicBezTo>
                  <a:pt x="2730267" y="4037049"/>
                  <a:pt x="3449821" y="2864383"/>
                  <a:pt x="3449821" y="2864383"/>
                </a:cubicBezTo>
                <a:cubicBezTo>
                  <a:pt x="2605313" y="2909066"/>
                  <a:pt x="1569262" y="2982241"/>
                  <a:pt x="525307" y="3092752"/>
                </a:cubicBezTo>
                <a:lnTo>
                  <a:pt x="0" y="3153257"/>
                </a:lnTo>
                <a:lnTo>
                  <a:pt x="0" y="2548460"/>
                </a:lnTo>
                <a:lnTo>
                  <a:pt x="600267" y="2351967"/>
                </a:lnTo>
                <a:cubicBezTo>
                  <a:pt x="1746814" y="1996578"/>
                  <a:pt x="2902220" y="1716148"/>
                  <a:pt x="3700325" y="1608553"/>
                </a:cubicBezTo>
                <a:cubicBezTo>
                  <a:pt x="3491939" y="1320857"/>
                  <a:pt x="2452665" y="681549"/>
                  <a:pt x="1450502" y="121565"/>
                </a:cubicBezTo>
                <a:close/>
              </a:path>
            </a:pathLst>
          </a:custGeom>
          <a:solidFill>
            <a:srgbClr val="00BEF3">
              <a:alpha val="49804"/>
            </a:srgb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E65764E0-AB6E-2B6A-5ABA-EA835CFBFAB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90165" y="3686842"/>
            <a:ext cx="2811667" cy="384721"/>
          </a:xfrm>
        </p:spPr>
        <p:txBody>
          <a:bodyPr wrap="none"/>
          <a:lstStyle>
            <a:lvl1pPr marL="0" indent="0" algn="ctr">
              <a:buNone/>
              <a:defRPr sz="2500" cap="all" baseline="0">
                <a:latin typeface="BNPP Expanded Sans" panose="020000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err="1"/>
              <a:t>Subtitle</a:t>
            </a:r>
            <a:r>
              <a:rPr lang="fr-FR"/>
              <a:t> </a:t>
            </a:r>
            <a:r>
              <a:rPr lang="fr-FR" err="1"/>
              <a:t>here</a:t>
            </a:r>
            <a:endParaRPr lang="en-GB"/>
          </a:p>
        </p:txBody>
      </p:sp>
      <p:sp>
        <p:nvSpPr>
          <p:cNvPr id="7" name="Espace réservé du titre 1">
            <a:extLst>
              <a:ext uri="{FF2B5EF4-FFF2-40B4-BE49-F238E27FC236}">
                <a16:creationId xmlns:a16="http://schemas.microsoft.com/office/drawing/2014/main" id="{88A445C9-42EC-235D-F3F7-C021A1EBBC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63329" y="1960543"/>
            <a:ext cx="9065342" cy="166776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b="1"/>
            </a:lvl1pPr>
          </a:lstStyle>
          <a:p>
            <a:r>
              <a:rPr lang="fr-FR" err="1"/>
              <a:t>Presentation</a:t>
            </a:r>
            <a:r>
              <a:rPr lang="fr-FR"/>
              <a:t> </a:t>
            </a:r>
            <a:r>
              <a:rPr lang="fr-FR" err="1"/>
              <a:t>title</a:t>
            </a:r>
            <a:br>
              <a:rPr lang="fr-FR"/>
            </a:br>
            <a:r>
              <a:rPr lang="fr-FR"/>
              <a:t>on multi-</a:t>
            </a:r>
            <a:r>
              <a:rPr lang="fr-FR" err="1"/>
              <a:t>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9953006"/>
      </p:ext>
    </p:extLst>
  </p:cSld>
  <p:clrMapOvr>
    <a:masterClrMapping/>
  </p:clrMapOvr>
  <p:transition spd="slow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BD8DADC1-DC06-9A0E-F7F3-C9DF49CC7110}"/>
              </a:ext>
            </a:extLst>
          </p:cNvPr>
          <p:cNvSpPr/>
          <p:nvPr userDrawn="1"/>
        </p:nvSpPr>
        <p:spPr>
          <a:xfrm>
            <a:off x="6091407" y="323998"/>
            <a:ext cx="5777794" cy="601568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AF7A199-17FC-A612-71C3-C61EE1D5D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540000"/>
            <a:ext cx="921727" cy="269304"/>
          </a:xfrm>
        </p:spPr>
        <p:txBody>
          <a:bodyPr wrap="none"/>
          <a:lstStyle>
            <a:lvl1pPr>
              <a:lnSpc>
                <a:spcPts val="2000"/>
              </a:lnSpc>
              <a:defRPr sz="2000" i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Agenda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F709C2C-89AA-F880-CA14-8854E569DB3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32665" y="1393007"/>
            <a:ext cx="3719438" cy="446917"/>
          </a:xfrm>
        </p:spPr>
        <p:txBody>
          <a:bodyPr anchor="ctr" anchorCtr="0"/>
          <a:lstStyle>
            <a:lvl1pPr marL="0" indent="0">
              <a:lnSpc>
                <a:spcPts val="1700"/>
              </a:lnSpc>
              <a:spcBef>
                <a:spcPts val="0"/>
              </a:spcBef>
              <a:buNone/>
              <a:defRPr sz="1700">
                <a:solidFill>
                  <a:schemeClr val="tx2"/>
                </a:solidFill>
                <a:latin typeface="BNPP Sans Light" panose="02000503020000020004" pitchFamily="50" charset="0"/>
              </a:defRPr>
            </a:lvl1pPr>
          </a:lstStyle>
          <a:p>
            <a:pPr lvl="0"/>
            <a:r>
              <a:rPr lang="fr-FR"/>
              <a:t>Lorem ipsum</a:t>
            </a:r>
            <a:br>
              <a:rPr lang="fr-FR"/>
            </a:b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endParaRPr lang="fr-FR"/>
          </a:p>
        </p:txBody>
      </p:sp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id="{00DF3952-E699-320E-5CDB-CE04B0AE30F3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720000" y="1327291"/>
            <a:ext cx="545021" cy="615553"/>
          </a:xfrm>
        </p:spPr>
        <p:txBody>
          <a:bodyPr wrap="none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i="1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fr-FR"/>
              <a:t>01</a:t>
            </a:r>
          </a:p>
        </p:txBody>
      </p:sp>
      <p:sp>
        <p:nvSpPr>
          <p:cNvPr id="14" name="Espace réservé du contenu 2">
            <a:extLst>
              <a:ext uri="{FF2B5EF4-FFF2-40B4-BE49-F238E27FC236}">
                <a16:creationId xmlns:a16="http://schemas.microsoft.com/office/drawing/2014/main" id="{2F6D96B7-3D96-E954-BB8A-3E6FF75EFDDE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1432665" y="2327352"/>
            <a:ext cx="3719438" cy="446917"/>
          </a:xfrm>
        </p:spPr>
        <p:txBody>
          <a:bodyPr anchor="ctr" anchorCtr="0"/>
          <a:lstStyle>
            <a:lvl1pPr marL="0" indent="0">
              <a:lnSpc>
                <a:spcPts val="1700"/>
              </a:lnSpc>
              <a:spcBef>
                <a:spcPts val="0"/>
              </a:spcBef>
              <a:buNone/>
              <a:defRPr sz="1700">
                <a:solidFill>
                  <a:schemeClr val="tx2"/>
                </a:solidFill>
                <a:latin typeface="BNPP Sans Light" panose="02000503020000020004" pitchFamily="50" charset="0"/>
              </a:defRPr>
            </a:lvl1pPr>
          </a:lstStyle>
          <a:p>
            <a:pPr lvl="0"/>
            <a:r>
              <a:rPr lang="fr-FR"/>
              <a:t>Lorem ipsum</a:t>
            </a:r>
            <a:br>
              <a:rPr lang="fr-FR"/>
            </a:b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endParaRPr lang="fr-FR"/>
          </a:p>
        </p:txBody>
      </p:sp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4DE8957A-45F2-3EE6-7469-9AB725DADE0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20000" y="2261636"/>
            <a:ext cx="545021" cy="615553"/>
          </a:xfrm>
        </p:spPr>
        <p:txBody>
          <a:bodyPr wrap="none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i="1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fr-FR"/>
              <a:t>01</a:t>
            </a:r>
          </a:p>
        </p:txBody>
      </p:sp>
      <p:sp>
        <p:nvSpPr>
          <p:cNvPr id="16" name="Espace réservé du contenu 2">
            <a:extLst>
              <a:ext uri="{FF2B5EF4-FFF2-40B4-BE49-F238E27FC236}">
                <a16:creationId xmlns:a16="http://schemas.microsoft.com/office/drawing/2014/main" id="{54B78E28-E84C-AA94-4877-1F10BFDC4E5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1432665" y="3249829"/>
            <a:ext cx="3719438" cy="446917"/>
          </a:xfrm>
        </p:spPr>
        <p:txBody>
          <a:bodyPr anchor="ctr" anchorCtr="0"/>
          <a:lstStyle>
            <a:lvl1pPr marL="0" indent="0">
              <a:lnSpc>
                <a:spcPts val="1700"/>
              </a:lnSpc>
              <a:spcBef>
                <a:spcPts val="0"/>
              </a:spcBef>
              <a:buNone/>
              <a:defRPr sz="1700">
                <a:solidFill>
                  <a:schemeClr val="tx2"/>
                </a:solidFill>
                <a:latin typeface="BNPP Sans Light" panose="02000503020000020004" pitchFamily="50" charset="0"/>
              </a:defRPr>
            </a:lvl1pPr>
          </a:lstStyle>
          <a:p>
            <a:pPr lvl="0"/>
            <a:r>
              <a:rPr lang="fr-FR"/>
              <a:t>Lorem ipsum</a:t>
            </a:r>
            <a:br>
              <a:rPr lang="fr-FR"/>
            </a:b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endParaRPr lang="fr-FR"/>
          </a:p>
        </p:txBody>
      </p:sp>
      <p:sp>
        <p:nvSpPr>
          <p:cNvPr id="17" name="Espace réservé du contenu 2">
            <a:extLst>
              <a:ext uri="{FF2B5EF4-FFF2-40B4-BE49-F238E27FC236}">
                <a16:creationId xmlns:a16="http://schemas.microsoft.com/office/drawing/2014/main" id="{E9385199-FBE8-DE83-0D07-A5C58CA74C0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720000" y="3184113"/>
            <a:ext cx="545021" cy="615553"/>
          </a:xfrm>
        </p:spPr>
        <p:txBody>
          <a:bodyPr wrap="none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i="1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fr-FR"/>
              <a:t>01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D4F2723F-1B92-9DEB-A4D7-882BF46A645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1432665" y="4172306"/>
            <a:ext cx="3719438" cy="446917"/>
          </a:xfrm>
        </p:spPr>
        <p:txBody>
          <a:bodyPr anchor="ctr" anchorCtr="0"/>
          <a:lstStyle>
            <a:lvl1pPr marL="0" indent="0">
              <a:lnSpc>
                <a:spcPts val="1700"/>
              </a:lnSpc>
              <a:spcBef>
                <a:spcPts val="0"/>
              </a:spcBef>
              <a:buNone/>
              <a:defRPr sz="1700">
                <a:solidFill>
                  <a:schemeClr val="tx2"/>
                </a:solidFill>
                <a:latin typeface="BNPP Sans Light" panose="02000503020000020004" pitchFamily="50" charset="0"/>
              </a:defRPr>
            </a:lvl1pPr>
          </a:lstStyle>
          <a:p>
            <a:pPr lvl="0"/>
            <a:r>
              <a:rPr lang="fr-FR"/>
              <a:t>Lorem ipsum</a:t>
            </a:r>
            <a:br>
              <a:rPr lang="fr-FR"/>
            </a:b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endParaRPr lang="fr-FR"/>
          </a:p>
        </p:txBody>
      </p:sp>
      <p:sp>
        <p:nvSpPr>
          <p:cNvPr id="19" name="Espace réservé du contenu 2">
            <a:extLst>
              <a:ext uri="{FF2B5EF4-FFF2-40B4-BE49-F238E27FC236}">
                <a16:creationId xmlns:a16="http://schemas.microsoft.com/office/drawing/2014/main" id="{97DB60AF-4907-3314-0931-5AA0206125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20000" y="4106590"/>
            <a:ext cx="545021" cy="615553"/>
          </a:xfrm>
        </p:spPr>
        <p:txBody>
          <a:bodyPr wrap="none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i="1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fr-FR"/>
              <a:t>01</a:t>
            </a:r>
          </a:p>
        </p:txBody>
      </p:sp>
      <p:sp>
        <p:nvSpPr>
          <p:cNvPr id="20" name="Espace réservé du contenu 2">
            <a:extLst>
              <a:ext uri="{FF2B5EF4-FFF2-40B4-BE49-F238E27FC236}">
                <a16:creationId xmlns:a16="http://schemas.microsoft.com/office/drawing/2014/main" id="{8DDBC190-6B3F-57F3-4E32-304DAE1EC946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1432665" y="5097442"/>
            <a:ext cx="3719438" cy="446917"/>
          </a:xfrm>
        </p:spPr>
        <p:txBody>
          <a:bodyPr anchor="ctr" anchorCtr="0"/>
          <a:lstStyle>
            <a:lvl1pPr marL="0" indent="0">
              <a:lnSpc>
                <a:spcPts val="1700"/>
              </a:lnSpc>
              <a:spcBef>
                <a:spcPts val="0"/>
              </a:spcBef>
              <a:buNone/>
              <a:defRPr sz="1700">
                <a:solidFill>
                  <a:schemeClr val="tx2"/>
                </a:solidFill>
                <a:latin typeface="BNPP Sans Light" panose="02000503020000020004" pitchFamily="50" charset="0"/>
              </a:defRPr>
            </a:lvl1pPr>
          </a:lstStyle>
          <a:p>
            <a:pPr lvl="0"/>
            <a:r>
              <a:rPr lang="fr-FR"/>
              <a:t>Lorem ipsum</a:t>
            </a:r>
            <a:br>
              <a:rPr lang="fr-FR"/>
            </a:b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endParaRPr lang="fr-FR"/>
          </a:p>
        </p:txBody>
      </p:sp>
      <p:sp>
        <p:nvSpPr>
          <p:cNvPr id="21" name="Espace réservé du contenu 2">
            <a:extLst>
              <a:ext uri="{FF2B5EF4-FFF2-40B4-BE49-F238E27FC236}">
                <a16:creationId xmlns:a16="http://schemas.microsoft.com/office/drawing/2014/main" id="{4EBF1FE7-D410-969F-4F5B-B5F3B5825A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20000" y="5031726"/>
            <a:ext cx="545021" cy="615553"/>
          </a:xfrm>
        </p:spPr>
        <p:txBody>
          <a:bodyPr wrap="none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i="1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fr-FR"/>
              <a:t>01</a:t>
            </a:r>
          </a:p>
        </p:txBody>
      </p:sp>
      <p:sp>
        <p:nvSpPr>
          <p:cNvPr id="26" name="Espace réservé pour une image  25">
            <a:extLst>
              <a:ext uri="{FF2B5EF4-FFF2-40B4-BE49-F238E27FC236}">
                <a16:creationId xmlns:a16="http://schemas.microsoft.com/office/drawing/2014/main" id="{E0FA97AD-7E6A-7F81-6C6A-508C618F222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0205" y="323999"/>
            <a:ext cx="5778996" cy="6015255"/>
          </a:xfrm>
          <a:custGeom>
            <a:avLst/>
            <a:gdLst>
              <a:gd name="connsiteX0" fmla="*/ 0 w 5772000"/>
              <a:gd name="connsiteY0" fmla="*/ 0 h 6007973"/>
              <a:gd name="connsiteX1" fmla="*/ 1749908 w 5772000"/>
              <a:gd name="connsiteY1" fmla="*/ 0 h 6007973"/>
              <a:gd name="connsiteX2" fmla="*/ 2017321 w 5772000"/>
              <a:gd name="connsiteY2" fmla="*/ 89042 h 6007973"/>
              <a:gd name="connsiteX3" fmla="*/ 4378135 w 5772000"/>
              <a:gd name="connsiteY3" fmla="*/ 1143119 h 6007973"/>
              <a:gd name="connsiteX4" fmla="*/ 5475470 w 5772000"/>
              <a:gd name="connsiteY4" fmla="*/ 918398 h 6007973"/>
              <a:gd name="connsiteX5" fmla="*/ 5772000 w 5772000"/>
              <a:gd name="connsiteY5" fmla="*/ 881597 h 6007973"/>
              <a:gd name="connsiteX6" fmla="*/ 5772000 w 5772000"/>
              <a:gd name="connsiteY6" fmla="*/ 2062381 h 6007973"/>
              <a:gd name="connsiteX7" fmla="*/ 5662396 w 5772000"/>
              <a:gd name="connsiteY7" fmla="*/ 2151936 h 6007973"/>
              <a:gd name="connsiteX8" fmla="*/ 5358484 w 5772000"/>
              <a:gd name="connsiteY8" fmla="*/ 2385319 h 6007973"/>
              <a:gd name="connsiteX9" fmla="*/ 5180802 w 5772000"/>
              <a:gd name="connsiteY9" fmla="*/ 5579421 h 6007973"/>
              <a:gd name="connsiteX10" fmla="*/ 5108185 w 5772000"/>
              <a:gd name="connsiteY10" fmla="*/ 6007973 h 6007973"/>
              <a:gd name="connsiteX11" fmla="*/ 4107338 w 5772000"/>
              <a:gd name="connsiteY11" fmla="*/ 6007973 h 6007973"/>
              <a:gd name="connsiteX12" fmla="*/ 4054333 w 5772000"/>
              <a:gd name="connsiteY12" fmla="*/ 5657394 h 6007973"/>
              <a:gd name="connsiteX13" fmla="*/ 3390350 w 5772000"/>
              <a:gd name="connsiteY13" fmla="*/ 3632566 h 6007973"/>
              <a:gd name="connsiteX14" fmla="*/ 203942 w 5772000"/>
              <a:gd name="connsiteY14" fmla="*/ 5408502 h 6007973"/>
              <a:gd name="connsiteX15" fmla="*/ 0 w 5772000"/>
              <a:gd name="connsiteY15" fmla="*/ 5510626 h 6007973"/>
              <a:gd name="connsiteX16" fmla="*/ 0 w 5772000"/>
              <a:gd name="connsiteY16" fmla="*/ 4806203 h 6007973"/>
              <a:gd name="connsiteX17" fmla="*/ 48448 w 5772000"/>
              <a:gd name="connsiteY17" fmla="*/ 4747468 h 6007973"/>
              <a:gd name="connsiteX18" fmla="*/ 1219852 w 5772000"/>
              <a:gd name="connsiteY18" fmla="*/ 3130241 h 6007973"/>
              <a:gd name="connsiteX19" fmla="*/ 74691 w 5772000"/>
              <a:gd name="connsiteY19" fmla="*/ 3200642 h 6007973"/>
              <a:gd name="connsiteX20" fmla="*/ 0 w 5772000"/>
              <a:gd name="connsiteY20" fmla="*/ 3206097 h 6007973"/>
              <a:gd name="connsiteX21" fmla="*/ 0 w 5772000"/>
              <a:gd name="connsiteY21" fmla="*/ 2013636 h 6007973"/>
              <a:gd name="connsiteX22" fmla="*/ 346529 w 5772000"/>
              <a:gd name="connsiteY22" fmla="*/ 1933688 h 6007973"/>
              <a:gd name="connsiteX23" fmla="*/ 1500825 w 5772000"/>
              <a:gd name="connsiteY23" fmla="*/ 1721927 h 6007973"/>
              <a:gd name="connsiteX24" fmla="*/ 79504 w 5772000"/>
              <a:gd name="connsiteY24" fmla="*/ 694150 h 6007973"/>
              <a:gd name="connsiteX25" fmla="*/ 0 w 5772000"/>
              <a:gd name="connsiteY25" fmla="*/ 646665 h 60079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5772000" h="6007973">
                <a:moveTo>
                  <a:pt x="0" y="0"/>
                </a:moveTo>
                <a:lnTo>
                  <a:pt x="1749908" y="0"/>
                </a:lnTo>
                <a:lnTo>
                  <a:pt x="2017321" y="89042"/>
                </a:lnTo>
                <a:cubicBezTo>
                  <a:pt x="2960163" y="415930"/>
                  <a:pt x="3786928" y="781663"/>
                  <a:pt x="4378135" y="1143119"/>
                </a:cubicBezTo>
                <a:cubicBezTo>
                  <a:pt x="4737002" y="1042087"/>
                  <a:pt x="5119621" y="968727"/>
                  <a:pt x="5475470" y="918398"/>
                </a:cubicBezTo>
                <a:lnTo>
                  <a:pt x="5772000" y="881597"/>
                </a:lnTo>
                <a:lnTo>
                  <a:pt x="5772000" y="2062381"/>
                </a:lnTo>
                <a:lnTo>
                  <a:pt x="5662396" y="2151936"/>
                </a:lnTo>
                <a:cubicBezTo>
                  <a:pt x="5568273" y="2227212"/>
                  <a:pt x="5467152" y="2304918"/>
                  <a:pt x="5358484" y="2385319"/>
                </a:cubicBezTo>
                <a:cubicBezTo>
                  <a:pt x="5515369" y="2804587"/>
                  <a:pt x="5406386" y="4168020"/>
                  <a:pt x="5180802" y="5579421"/>
                </a:cubicBezTo>
                <a:lnTo>
                  <a:pt x="5108185" y="6007973"/>
                </a:lnTo>
                <a:lnTo>
                  <a:pt x="4107338" y="6007973"/>
                </a:lnTo>
                <a:lnTo>
                  <a:pt x="4054333" y="5657394"/>
                </a:lnTo>
                <a:cubicBezTo>
                  <a:pt x="3916174" y="4823965"/>
                  <a:pt x="3706203" y="4096383"/>
                  <a:pt x="3390350" y="3632566"/>
                </a:cubicBezTo>
                <a:cubicBezTo>
                  <a:pt x="1973207" y="4466321"/>
                  <a:pt x="1331956" y="4839678"/>
                  <a:pt x="203942" y="5408502"/>
                </a:cubicBezTo>
                <a:lnTo>
                  <a:pt x="0" y="5510626"/>
                </a:lnTo>
                <a:lnTo>
                  <a:pt x="0" y="4806203"/>
                </a:lnTo>
                <a:lnTo>
                  <a:pt x="48448" y="4747468"/>
                </a:lnTo>
                <a:cubicBezTo>
                  <a:pt x="785919" y="3837438"/>
                  <a:pt x="1219852" y="3130241"/>
                  <a:pt x="1219852" y="3130241"/>
                </a:cubicBezTo>
                <a:cubicBezTo>
                  <a:pt x="864720" y="3149039"/>
                  <a:pt x="479379" y="3172332"/>
                  <a:pt x="74691" y="3200642"/>
                </a:cubicBezTo>
                <a:lnTo>
                  <a:pt x="0" y="3206097"/>
                </a:lnTo>
                <a:lnTo>
                  <a:pt x="0" y="2013636"/>
                </a:lnTo>
                <a:lnTo>
                  <a:pt x="346529" y="1933688"/>
                </a:lnTo>
                <a:cubicBezTo>
                  <a:pt x="773204" y="1839706"/>
                  <a:pt x="1165187" y="1767190"/>
                  <a:pt x="1500825" y="1721927"/>
                </a:cubicBezTo>
                <a:cubicBezTo>
                  <a:pt x="1345069" y="1506866"/>
                  <a:pt x="775148" y="1116541"/>
                  <a:pt x="79504" y="694150"/>
                </a:cubicBezTo>
                <a:lnTo>
                  <a:pt x="0" y="64666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2501395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2A0EBA2-B0B0-06CF-EF3B-40990B8A30E5}"/>
              </a:ext>
            </a:extLst>
          </p:cNvPr>
          <p:cNvSpPr/>
          <p:nvPr userDrawn="1"/>
        </p:nvSpPr>
        <p:spPr>
          <a:xfrm>
            <a:off x="324000" y="316523"/>
            <a:ext cx="11545200" cy="6022731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/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D27309DC-9CB3-BE81-6620-5EA3508BAE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9588" y="3765326"/>
            <a:ext cx="1166986" cy="380873"/>
          </a:xfrm>
        </p:spPr>
        <p:txBody>
          <a:bodyPr anchor="t" anchorCtr="0"/>
          <a:lstStyle>
            <a:lvl1pPr algn="ctr">
              <a:lnSpc>
                <a:spcPct val="8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BNPP Sans Light" panose="02000503020000020004" pitchFamily="50" charset="0"/>
              </a:defRPr>
            </a:lvl1pPr>
          </a:lstStyle>
          <a:p>
            <a:pPr lvl="0"/>
            <a:r>
              <a:rPr lang="fr-FR"/>
              <a:t>Lorem ipsum</a:t>
            </a:r>
            <a:br>
              <a:rPr lang="fr-FR"/>
            </a:b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endParaRPr lang="en-GB"/>
          </a:p>
        </p:txBody>
      </p:sp>
      <p:sp>
        <p:nvSpPr>
          <p:cNvPr id="16" name="Espace réservé du texte 13">
            <a:extLst>
              <a:ext uri="{FF2B5EF4-FFF2-40B4-BE49-F238E27FC236}">
                <a16:creationId xmlns:a16="http://schemas.microsoft.com/office/drawing/2014/main" id="{CC6D7039-D96E-FAA6-B7F5-6BB06C19F0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06479" y="3765326"/>
            <a:ext cx="1166986" cy="380873"/>
          </a:xfrm>
        </p:spPr>
        <p:txBody>
          <a:bodyPr anchor="t" anchorCtr="0"/>
          <a:lstStyle>
            <a:lvl1pPr algn="ctr">
              <a:lnSpc>
                <a:spcPct val="8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BNPP Sans Light" panose="02000503020000020004" pitchFamily="50" charset="0"/>
              </a:defRPr>
            </a:lvl1pPr>
          </a:lstStyle>
          <a:p>
            <a:pPr lvl="0"/>
            <a:r>
              <a:rPr lang="fr-FR"/>
              <a:t>Lorem ipsum</a:t>
            </a:r>
            <a:br>
              <a:rPr lang="fr-FR"/>
            </a:b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endParaRPr lang="en-GB"/>
          </a:p>
        </p:txBody>
      </p:sp>
      <p:sp>
        <p:nvSpPr>
          <p:cNvPr id="18" name="Espace réservé du texte 13">
            <a:extLst>
              <a:ext uri="{FF2B5EF4-FFF2-40B4-BE49-F238E27FC236}">
                <a16:creationId xmlns:a16="http://schemas.microsoft.com/office/drawing/2014/main" id="{8E1B8D05-F047-4A11-355B-7B24DD7649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18384" y="3765326"/>
            <a:ext cx="1166986" cy="380873"/>
          </a:xfrm>
        </p:spPr>
        <p:txBody>
          <a:bodyPr anchor="t" anchorCtr="0"/>
          <a:lstStyle>
            <a:lvl1pPr algn="ctr">
              <a:lnSpc>
                <a:spcPct val="8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BNPP Sans Light" panose="02000503020000020004" pitchFamily="50" charset="0"/>
              </a:defRPr>
            </a:lvl1pPr>
          </a:lstStyle>
          <a:p>
            <a:pPr lvl="0"/>
            <a:r>
              <a:rPr lang="fr-FR"/>
              <a:t>Lorem ipsum</a:t>
            </a:r>
            <a:br>
              <a:rPr lang="fr-FR"/>
            </a:b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endParaRPr lang="en-GB"/>
          </a:p>
        </p:txBody>
      </p:sp>
      <p:sp>
        <p:nvSpPr>
          <p:cNvPr id="20" name="Espace réservé du texte 13">
            <a:extLst>
              <a:ext uri="{FF2B5EF4-FFF2-40B4-BE49-F238E27FC236}">
                <a16:creationId xmlns:a16="http://schemas.microsoft.com/office/drawing/2014/main" id="{28B2E352-E159-EB26-0173-39DB5FB834A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28806" y="3765326"/>
            <a:ext cx="1166986" cy="380873"/>
          </a:xfrm>
        </p:spPr>
        <p:txBody>
          <a:bodyPr anchor="t" anchorCtr="0"/>
          <a:lstStyle>
            <a:lvl1pPr algn="ctr">
              <a:lnSpc>
                <a:spcPct val="80000"/>
              </a:lnSpc>
              <a:spcBef>
                <a:spcPts val="0"/>
              </a:spcBef>
              <a:defRPr sz="1500">
                <a:solidFill>
                  <a:schemeClr val="bg1"/>
                </a:solidFill>
                <a:latin typeface="BNPP Sans Light" panose="02000503020000020004" pitchFamily="50" charset="0"/>
              </a:defRPr>
            </a:lvl1pPr>
          </a:lstStyle>
          <a:p>
            <a:pPr lvl="0"/>
            <a:r>
              <a:rPr lang="fr-FR"/>
              <a:t>Lorem ipsum</a:t>
            </a:r>
            <a:br>
              <a:rPr lang="fr-FR"/>
            </a:b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BC8581D-754D-16F0-CB52-C3D39553F14A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1981566" y="2743570"/>
            <a:ext cx="763030" cy="830997"/>
          </a:xfrm>
        </p:spPr>
        <p:txBody>
          <a:bodyPr wrap="none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400" b="1" i="0">
                <a:solidFill>
                  <a:schemeClr val="bg1"/>
                </a:solidFill>
                <a:latin typeface="BNPP Slab Serif" panose="02000000000000000000" pitchFamily="2" charset="0"/>
              </a:defRPr>
            </a:lvl1pPr>
          </a:lstStyle>
          <a:p>
            <a:pPr lvl="0"/>
            <a:r>
              <a:rPr lang="fr-FR"/>
              <a:t>01</a:t>
            </a:r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4249B2ED-3520-C110-EB77-4898236696A7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508456" y="2743570"/>
            <a:ext cx="763030" cy="830997"/>
          </a:xfrm>
        </p:spPr>
        <p:txBody>
          <a:bodyPr wrap="none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400" b="1" i="0">
                <a:solidFill>
                  <a:schemeClr val="bg1"/>
                </a:solidFill>
                <a:latin typeface="BNPP Slab Serif" panose="02000000000000000000" pitchFamily="2" charset="0"/>
              </a:defRPr>
            </a:lvl1pPr>
          </a:lstStyle>
          <a:p>
            <a:pPr lvl="0"/>
            <a:r>
              <a:rPr lang="fr-FR"/>
              <a:t>02</a:t>
            </a:r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39D6A04E-291D-1897-8F58-74CD78865A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020362" y="2743570"/>
            <a:ext cx="763030" cy="830997"/>
          </a:xfrm>
        </p:spPr>
        <p:txBody>
          <a:bodyPr wrap="none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400" b="1" i="0">
                <a:solidFill>
                  <a:schemeClr val="bg1"/>
                </a:solidFill>
                <a:latin typeface="BNPP Slab Serif" panose="02000000000000000000" pitchFamily="2" charset="0"/>
              </a:defRPr>
            </a:lvl1pPr>
          </a:lstStyle>
          <a:p>
            <a:pPr lvl="0"/>
            <a:r>
              <a:rPr lang="fr-FR"/>
              <a:t>03</a:t>
            </a:r>
          </a:p>
        </p:txBody>
      </p:sp>
      <p:sp>
        <p:nvSpPr>
          <p:cNvPr id="9" name="Espace réservé du contenu 2">
            <a:extLst>
              <a:ext uri="{FF2B5EF4-FFF2-40B4-BE49-F238E27FC236}">
                <a16:creationId xmlns:a16="http://schemas.microsoft.com/office/drawing/2014/main" id="{3BAA12BB-B3E2-A055-1DB7-3679FBDAFA88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9530784" y="2743570"/>
            <a:ext cx="763030" cy="830997"/>
          </a:xfrm>
        </p:spPr>
        <p:txBody>
          <a:bodyPr wrap="none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400" b="1" i="0">
                <a:solidFill>
                  <a:schemeClr val="bg1"/>
                </a:solidFill>
                <a:latin typeface="BNPP Slab Serif" panose="02000000000000000000" pitchFamily="2" charset="0"/>
              </a:defRPr>
            </a:lvl1pPr>
          </a:lstStyle>
          <a:p>
            <a:pPr lvl="0"/>
            <a:r>
              <a:rPr lang="fr-FR"/>
              <a:t>04</a:t>
            </a:r>
          </a:p>
        </p:txBody>
      </p:sp>
      <p:sp>
        <p:nvSpPr>
          <p:cNvPr id="12" name="Titre 1">
            <a:extLst>
              <a:ext uri="{FF2B5EF4-FFF2-40B4-BE49-F238E27FC236}">
                <a16:creationId xmlns:a16="http://schemas.microsoft.com/office/drawing/2014/main" id="{8AB19F78-5EF2-F697-D7D4-1E912DDC4F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540000"/>
            <a:ext cx="921727" cy="269304"/>
          </a:xfrm>
        </p:spPr>
        <p:txBody>
          <a:bodyPr wrap="none"/>
          <a:lstStyle>
            <a:lvl1pPr>
              <a:lnSpc>
                <a:spcPts val="2000"/>
              </a:lnSpc>
              <a:defRPr sz="2000" i="0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Agenda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3478241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29173C7A-9820-FA30-8CCC-BA4DDE03108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1201" y="323998"/>
            <a:ext cx="5778000" cy="60156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AF7A199-17FC-A612-71C3-C61EE1D5D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540000"/>
            <a:ext cx="921727" cy="269304"/>
          </a:xfrm>
        </p:spPr>
        <p:txBody>
          <a:bodyPr wrap="none"/>
          <a:lstStyle>
            <a:lvl1pPr>
              <a:lnSpc>
                <a:spcPts val="2000"/>
              </a:lnSpc>
              <a:defRPr sz="2000" i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Agenda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F709C2C-89AA-F880-CA14-8854E569DB3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32665" y="1393007"/>
            <a:ext cx="3719438" cy="446917"/>
          </a:xfrm>
        </p:spPr>
        <p:txBody>
          <a:bodyPr anchor="ctr" anchorCtr="0"/>
          <a:lstStyle>
            <a:lvl1pPr marL="0" indent="0">
              <a:lnSpc>
                <a:spcPts val="1700"/>
              </a:lnSpc>
              <a:spcBef>
                <a:spcPts val="0"/>
              </a:spcBef>
              <a:buNone/>
              <a:defRPr sz="1700">
                <a:solidFill>
                  <a:schemeClr val="tx2"/>
                </a:solidFill>
                <a:latin typeface="BNPP Sans Light" panose="02000503020000020004" pitchFamily="50" charset="0"/>
              </a:defRPr>
            </a:lvl1pPr>
          </a:lstStyle>
          <a:p>
            <a:pPr lvl="0"/>
            <a:r>
              <a:rPr lang="fr-FR"/>
              <a:t>Lorem ipsum</a:t>
            </a:r>
            <a:br>
              <a:rPr lang="fr-FR"/>
            </a:b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endParaRPr lang="fr-FR"/>
          </a:p>
        </p:txBody>
      </p:sp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id="{00DF3952-E699-320E-5CDB-CE04B0AE30F3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720000" y="1327291"/>
            <a:ext cx="545021" cy="615553"/>
          </a:xfrm>
        </p:spPr>
        <p:txBody>
          <a:bodyPr wrap="none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i="1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fr-FR"/>
              <a:t>01</a:t>
            </a:r>
          </a:p>
        </p:txBody>
      </p:sp>
      <p:sp>
        <p:nvSpPr>
          <p:cNvPr id="14" name="Espace réservé du contenu 2">
            <a:extLst>
              <a:ext uri="{FF2B5EF4-FFF2-40B4-BE49-F238E27FC236}">
                <a16:creationId xmlns:a16="http://schemas.microsoft.com/office/drawing/2014/main" id="{2F6D96B7-3D96-E954-BB8A-3E6FF75EFDDE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1432665" y="2327352"/>
            <a:ext cx="3719438" cy="446917"/>
          </a:xfrm>
        </p:spPr>
        <p:txBody>
          <a:bodyPr anchor="ctr" anchorCtr="0"/>
          <a:lstStyle>
            <a:lvl1pPr marL="0" indent="0">
              <a:lnSpc>
                <a:spcPts val="1700"/>
              </a:lnSpc>
              <a:spcBef>
                <a:spcPts val="0"/>
              </a:spcBef>
              <a:buNone/>
              <a:defRPr sz="1700">
                <a:solidFill>
                  <a:schemeClr val="tx2"/>
                </a:solidFill>
                <a:latin typeface="BNPP Sans Light" panose="02000503020000020004" pitchFamily="50" charset="0"/>
              </a:defRPr>
            </a:lvl1pPr>
          </a:lstStyle>
          <a:p>
            <a:pPr lvl="0"/>
            <a:r>
              <a:rPr lang="fr-FR"/>
              <a:t>Lorem ipsum</a:t>
            </a:r>
            <a:br>
              <a:rPr lang="fr-FR"/>
            </a:b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endParaRPr lang="fr-FR"/>
          </a:p>
        </p:txBody>
      </p:sp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4DE8957A-45F2-3EE6-7469-9AB725DADE0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20000" y="2261636"/>
            <a:ext cx="545021" cy="615553"/>
          </a:xfrm>
        </p:spPr>
        <p:txBody>
          <a:bodyPr wrap="none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i="1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fr-FR"/>
              <a:t>01</a:t>
            </a:r>
          </a:p>
        </p:txBody>
      </p:sp>
      <p:sp>
        <p:nvSpPr>
          <p:cNvPr id="16" name="Espace réservé du contenu 2">
            <a:extLst>
              <a:ext uri="{FF2B5EF4-FFF2-40B4-BE49-F238E27FC236}">
                <a16:creationId xmlns:a16="http://schemas.microsoft.com/office/drawing/2014/main" id="{54B78E28-E84C-AA94-4877-1F10BFDC4E5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1432665" y="3249829"/>
            <a:ext cx="3719438" cy="446917"/>
          </a:xfrm>
        </p:spPr>
        <p:txBody>
          <a:bodyPr anchor="ctr" anchorCtr="0"/>
          <a:lstStyle>
            <a:lvl1pPr marL="0" indent="0">
              <a:lnSpc>
                <a:spcPts val="1700"/>
              </a:lnSpc>
              <a:spcBef>
                <a:spcPts val="0"/>
              </a:spcBef>
              <a:buNone/>
              <a:defRPr sz="1700">
                <a:solidFill>
                  <a:schemeClr val="tx2"/>
                </a:solidFill>
                <a:latin typeface="BNPP Sans Light" panose="02000503020000020004" pitchFamily="50" charset="0"/>
              </a:defRPr>
            </a:lvl1pPr>
          </a:lstStyle>
          <a:p>
            <a:pPr lvl="0"/>
            <a:r>
              <a:rPr lang="fr-FR"/>
              <a:t>Lorem ipsum</a:t>
            </a:r>
            <a:br>
              <a:rPr lang="fr-FR"/>
            </a:b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endParaRPr lang="fr-FR"/>
          </a:p>
        </p:txBody>
      </p:sp>
      <p:sp>
        <p:nvSpPr>
          <p:cNvPr id="17" name="Espace réservé du contenu 2">
            <a:extLst>
              <a:ext uri="{FF2B5EF4-FFF2-40B4-BE49-F238E27FC236}">
                <a16:creationId xmlns:a16="http://schemas.microsoft.com/office/drawing/2014/main" id="{E9385199-FBE8-DE83-0D07-A5C58CA74C0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720000" y="3184113"/>
            <a:ext cx="545021" cy="615553"/>
          </a:xfrm>
        </p:spPr>
        <p:txBody>
          <a:bodyPr wrap="none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i="1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fr-FR"/>
              <a:t>01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D4F2723F-1B92-9DEB-A4D7-882BF46A645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1432665" y="4172306"/>
            <a:ext cx="3719438" cy="446917"/>
          </a:xfrm>
        </p:spPr>
        <p:txBody>
          <a:bodyPr anchor="ctr" anchorCtr="0"/>
          <a:lstStyle>
            <a:lvl1pPr marL="0" indent="0">
              <a:lnSpc>
                <a:spcPts val="1700"/>
              </a:lnSpc>
              <a:spcBef>
                <a:spcPts val="0"/>
              </a:spcBef>
              <a:buNone/>
              <a:defRPr sz="1700">
                <a:solidFill>
                  <a:schemeClr val="tx2"/>
                </a:solidFill>
                <a:latin typeface="BNPP Sans Light" panose="02000503020000020004" pitchFamily="50" charset="0"/>
              </a:defRPr>
            </a:lvl1pPr>
          </a:lstStyle>
          <a:p>
            <a:pPr lvl="0"/>
            <a:r>
              <a:rPr lang="fr-FR"/>
              <a:t>Lorem ipsum</a:t>
            </a:r>
            <a:br>
              <a:rPr lang="fr-FR"/>
            </a:b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endParaRPr lang="fr-FR"/>
          </a:p>
        </p:txBody>
      </p:sp>
      <p:sp>
        <p:nvSpPr>
          <p:cNvPr id="19" name="Espace réservé du contenu 2">
            <a:extLst>
              <a:ext uri="{FF2B5EF4-FFF2-40B4-BE49-F238E27FC236}">
                <a16:creationId xmlns:a16="http://schemas.microsoft.com/office/drawing/2014/main" id="{97DB60AF-4907-3314-0931-5AA0206125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20000" y="4106590"/>
            <a:ext cx="545021" cy="615553"/>
          </a:xfrm>
        </p:spPr>
        <p:txBody>
          <a:bodyPr wrap="none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i="1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fr-FR"/>
              <a:t>01</a:t>
            </a:r>
          </a:p>
        </p:txBody>
      </p:sp>
      <p:sp>
        <p:nvSpPr>
          <p:cNvPr id="20" name="Espace réservé du contenu 2">
            <a:extLst>
              <a:ext uri="{FF2B5EF4-FFF2-40B4-BE49-F238E27FC236}">
                <a16:creationId xmlns:a16="http://schemas.microsoft.com/office/drawing/2014/main" id="{8DDBC190-6B3F-57F3-4E32-304DAE1EC946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1432665" y="5097442"/>
            <a:ext cx="3719438" cy="446917"/>
          </a:xfrm>
        </p:spPr>
        <p:txBody>
          <a:bodyPr anchor="ctr" anchorCtr="0"/>
          <a:lstStyle>
            <a:lvl1pPr marL="0" indent="0">
              <a:lnSpc>
                <a:spcPts val="1700"/>
              </a:lnSpc>
              <a:spcBef>
                <a:spcPts val="0"/>
              </a:spcBef>
              <a:buNone/>
              <a:defRPr sz="1700">
                <a:solidFill>
                  <a:schemeClr val="tx2"/>
                </a:solidFill>
                <a:latin typeface="BNPP Sans Light" panose="02000503020000020004" pitchFamily="50" charset="0"/>
              </a:defRPr>
            </a:lvl1pPr>
          </a:lstStyle>
          <a:p>
            <a:pPr lvl="0"/>
            <a:r>
              <a:rPr lang="fr-FR"/>
              <a:t>Lorem ipsum</a:t>
            </a:r>
            <a:br>
              <a:rPr lang="fr-FR"/>
            </a:b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endParaRPr lang="fr-FR"/>
          </a:p>
        </p:txBody>
      </p:sp>
      <p:sp>
        <p:nvSpPr>
          <p:cNvPr id="21" name="Espace réservé du contenu 2">
            <a:extLst>
              <a:ext uri="{FF2B5EF4-FFF2-40B4-BE49-F238E27FC236}">
                <a16:creationId xmlns:a16="http://schemas.microsoft.com/office/drawing/2014/main" id="{4EBF1FE7-D410-969F-4F5B-B5F3B5825A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20000" y="5031726"/>
            <a:ext cx="545021" cy="615553"/>
          </a:xfrm>
        </p:spPr>
        <p:txBody>
          <a:bodyPr wrap="none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i="1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fr-FR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1445451257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56C8370E-4E66-EB9E-0095-17FC631BBB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24000" y="323999"/>
            <a:ext cx="11544000" cy="6007973"/>
          </a:xfr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E65764E0-AB6E-2B6A-5ABA-EA835CFBFAB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53955" y="4955202"/>
            <a:ext cx="884089" cy="430887"/>
          </a:xfrm>
        </p:spPr>
        <p:txBody>
          <a:bodyPr wrap="none"/>
          <a:lstStyle>
            <a:lvl1pPr marL="0" indent="0" algn="ctr">
              <a:buNone/>
              <a:defRPr sz="280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err="1"/>
              <a:t>Subtitle</a:t>
            </a:r>
            <a:endParaRPr lang="en-GB"/>
          </a:p>
        </p:txBody>
      </p:sp>
      <p:sp>
        <p:nvSpPr>
          <p:cNvPr id="13" name="Espace réservé du titre 1">
            <a:extLst>
              <a:ext uri="{FF2B5EF4-FFF2-40B4-BE49-F238E27FC236}">
                <a16:creationId xmlns:a16="http://schemas.microsoft.com/office/drawing/2014/main" id="{E9D51B95-7596-6D9C-932E-E231284D4F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63327" y="2467814"/>
            <a:ext cx="9065342" cy="17203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Chapter</a:t>
            </a:r>
            <a:r>
              <a:rPr lang="fr-FR"/>
              <a:t> </a:t>
            </a:r>
            <a:r>
              <a:rPr lang="fr-FR" err="1"/>
              <a:t>title</a:t>
            </a:r>
            <a:br>
              <a:rPr lang="fr-FR"/>
            </a:br>
            <a:r>
              <a:rPr lang="fr-FR"/>
              <a:t>on multi-</a:t>
            </a:r>
            <a:r>
              <a:rPr lang="fr-FR" err="1"/>
              <a:t>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81302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56C8370E-4E66-EB9E-0095-17FC631BBB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323999"/>
            <a:ext cx="5772000" cy="6007973"/>
          </a:xfr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F125924-D428-48ED-CB24-38DBF0D88FA8}"/>
              </a:ext>
            </a:extLst>
          </p:cNvPr>
          <p:cNvSpPr/>
          <p:nvPr userDrawn="1"/>
        </p:nvSpPr>
        <p:spPr>
          <a:xfrm>
            <a:off x="324001" y="323999"/>
            <a:ext cx="5772000" cy="6007973"/>
          </a:xfrm>
          <a:prstGeom prst="rect">
            <a:avLst/>
          </a:prstGeom>
          <a:solidFill>
            <a:schemeClr val="accent6"/>
          </a:solidFill>
          <a:ln w="5366" cap="flat">
            <a:noFill/>
            <a:prstDash val="solid"/>
            <a:miter/>
          </a:ln>
        </p:spPr>
        <p:txBody>
          <a:bodyPr lIns="180000" tIns="180000" rIns="180000" bIns="180000" rtlCol="0" anchor="b" anchorCtr="0"/>
          <a:lstStyle/>
          <a:p>
            <a:pPr lvl="0"/>
            <a:endParaRPr lang="en-GB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E65764E0-AB6E-2B6A-5ABA-EA835CFBFAB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24230" y="1491031"/>
            <a:ext cx="1359346" cy="1538883"/>
          </a:xfrm>
        </p:spPr>
        <p:txBody>
          <a:bodyPr wrap="none"/>
          <a:lstStyle>
            <a:lvl1pPr marL="0" indent="0" algn="l">
              <a:buNone/>
              <a:defRPr sz="10000" i="1" cap="all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01</a:t>
            </a:r>
            <a:endParaRPr lang="en-GB"/>
          </a:p>
        </p:txBody>
      </p:sp>
      <p:sp>
        <p:nvSpPr>
          <p:cNvPr id="13" name="Espace réservé du titre 1">
            <a:extLst>
              <a:ext uri="{FF2B5EF4-FFF2-40B4-BE49-F238E27FC236}">
                <a16:creationId xmlns:a16="http://schemas.microsoft.com/office/drawing/2014/main" id="{E9D51B95-7596-6D9C-932E-E231284D4F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4230" y="2910266"/>
            <a:ext cx="3708000" cy="134844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lnSpc>
                <a:spcPts val="5100"/>
              </a:lnSpc>
              <a:defRPr sz="5300">
                <a:solidFill>
                  <a:schemeClr val="accent1"/>
                </a:solidFill>
              </a:defRPr>
            </a:lvl1pPr>
          </a:lstStyle>
          <a:p>
            <a:r>
              <a:rPr lang="fr-FR" err="1"/>
              <a:t>Chapter</a:t>
            </a:r>
            <a:r>
              <a:rPr lang="fr-FR"/>
              <a:t> </a:t>
            </a:r>
            <a:r>
              <a:rPr lang="fr-FR" err="1"/>
              <a:t>title</a:t>
            </a:r>
            <a:br>
              <a:rPr lang="fr-FR"/>
            </a:br>
            <a:r>
              <a:rPr lang="fr-FR"/>
              <a:t>on multi-</a:t>
            </a:r>
            <a:r>
              <a:rPr lang="fr-FR" err="1"/>
              <a:t>lines</a:t>
            </a:r>
            <a:endParaRPr lang="en-GB"/>
          </a:p>
        </p:txBody>
      </p:sp>
      <p:sp>
        <p:nvSpPr>
          <p:cNvPr id="27" name="Espace réservé du texte 26">
            <a:extLst>
              <a:ext uri="{FF2B5EF4-FFF2-40B4-BE49-F238E27FC236}">
                <a16:creationId xmlns:a16="http://schemas.microsoft.com/office/drawing/2014/main" id="{EFA80C40-96E6-5C29-A8A5-D97F6BD37F5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31767" y="2897968"/>
            <a:ext cx="977430" cy="808546"/>
          </a:xfrm>
          <a:custGeom>
            <a:avLst/>
            <a:gdLst>
              <a:gd name="connsiteX0" fmla="*/ 182937 w 977430"/>
              <a:gd name="connsiteY0" fmla="*/ 0 h 808546"/>
              <a:gd name="connsiteX1" fmla="*/ 783399 w 977430"/>
              <a:gd name="connsiteY1" fmla="*/ 173568 h 808546"/>
              <a:gd name="connsiteX2" fmla="*/ 977430 w 977430"/>
              <a:gd name="connsiteY2" fmla="*/ 149037 h 808546"/>
              <a:gd name="connsiteX3" fmla="*/ 977430 w 977430"/>
              <a:gd name="connsiteY3" fmla="*/ 149160 h 808546"/>
              <a:gd name="connsiteX4" fmla="*/ 862047 w 977430"/>
              <a:gd name="connsiteY4" fmla="*/ 273296 h 808546"/>
              <a:gd name="connsiteX5" fmla="*/ 777481 w 977430"/>
              <a:gd name="connsiteY5" fmla="*/ 808546 h 808546"/>
              <a:gd name="connsiteX6" fmla="*/ 704257 w 977430"/>
              <a:gd name="connsiteY6" fmla="*/ 373270 h 808546"/>
              <a:gd name="connsiteX7" fmla="*/ 341589 w 977430"/>
              <a:gd name="connsiteY7" fmla="*/ 568411 h 808546"/>
              <a:gd name="connsiteX8" fmla="*/ 530196 w 977430"/>
              <a:gd name="connsiteY8" fmla="*/ 332960 h 808546"/>
              <a:gd name="connsiteX9" fmla="*/ 0 w 977430"/>
              <a:gd name="connsiteY9" fmla="*/ 394226 h 808546"/>
              <a:gd name="connsiteX10" fmla="*/ 552755 w 977430"/>
              <a:gd name="connsiteY10" fmla="*/ 220042 h 808546"/>
              <a:gd name="connsiteX11" fmla="*/ 182937 w 977430"/>
              <a:gd name="connsiteY11" fmla="*/ 0 h 808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77430" h="808546">
                <a:moveTo>
                  <a:pt x="182937" y="0"/>
                </a:moveTo>
                <a:cubicBezTo>
                  <a:pt x="396322" y="16642"/>
                  <a:pt x="657044" y="96276"/>
                  <a:pt x="783399" y="173568"/>
                </a:cubicBezTo>
                <a:cubicBezTo>
                  <a:pt x="860198" y="151995"/>
                  <a:pt x="950433" y="146201"/>
                  <a:pt x="977430" y="149037"/>
                </a:cubicBezTo>
                <a:lnTo>
                  <a:pt x="977430" y="149160"/>
                </a:lnTo>
                <a:cubicBezTo>
                  <a:pt x="962760" y="183923"/>
                  <a:pt x="931696" y="221768"/>
                  <a:pt x="862047" y="273296"/>
                </a:cubicBezTo>
                <a:cubicBezTo>
                  <a:pt x="887194" y="340479"/>
                  <a:pt x="827160" y="710544"/>
                  <a:pt x="777481" y="808546"/>
                </a:cubicBezTo>
                <a:cubicBezTo>
                  <a:pt x="775632" y="653715"/>
                  <a:pt x="762196" y="458328"/>
                  <a:pt x="704257" y="373270"/>
                </a:cubicBezTo>
                <a:cubicBezTo>
                  <a:pt x="552755" y="462396"/>
                  <a:pt x="511829" y="485818"/>
                  <a:pt x="341589" y="568411"/>
                </a:cubicBezTo>
                <a:cubicBezTo>
                  <a:pt x="456602" y="452904"/>
                  <a:pt x="530196" y="332960"/>
                  <a:pt x="530196" y="332960"/>
                </a:cubicBezTo>
                <a:cubicBezTo>
                  <a:pt x="378324" y="341096"/>
                  <a:pt x="157543" y="359340"/>
                  <a:pt x="0" y="394226"/>
                </a:cubicBezTo>
                <a:cubicBezTo>
                  <a:pt x="137203" y="320879"/>
                  <a:pt x="409266" y="239396"/>
                  <a:pt x="552755" y="220042"/>
                </a:cubicBezTo>
                <a:cubicBezTo>
                  <a:pt x="519472" y="174061"/>
                  <a:pt x="249997" y="28106"/>
                  <a:pt x="182937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108000" anchor="ctr" anchorCtr="0">
            <a:noAutofit/>
          </a:bodyPr>
          <a:lstStyle>
            <a:lvl1pPr algn="ctr">
              <a:defRPr sz="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z</a:t>
            </a:r>
          </a:p>
        </p:txBody>
      </p:sp>
    </p:spTree>
    <p:extLst>
      <p:ext uri="{BB962C8B-B14F-4D97-AF65-F5344CB8AC3E}">
        <p14:creationId xmlns:p14="http://schemas.microsoft.com/office/powerpoint/2010/main" val="1661194168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F125924-D428-48ED-CB24-38DBF0D88FA8}"/>
              </a:ext>
            </a:extLst>
          </p:cNvPr>
          <p:cNvSpPr/>
          <p:nvPr userDrawn="1"/>
        </p:nvSpPr>
        <p:spPr>
          <a:xfrm>
            <a:off x="6096000" y="323999"/>
            <a:ext cx="5772000" cy="6007973"/>
          </a:xfrm>
          <a:prstGeom prst="rect">
            <a:avLst/>
          </a:prstGeom>
          <a:solidFill>
            <a:schemeClr val="accent5"/>
          </a:solidFill>
          <a:ln w="5366" cap="flat">
            <a:noFill/>
            <a:prstDash val="solid"/>
            <a:miter/>
          </a:ln>
        </p:spPr>
        <p:txBody>
          <a:bodyPr lIns="180000" tIns="180000" rIns="180000" bIns="180000" rtlCol="0" anchor="b" anchorCtr="0"/>
          <a:lstStyle/>
          <a:p>
            <a:pPr lvl="0"/>
            <a:endParaRPr lang="en-GB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4" name="Espace réservé pour une image  11">
            <a:extLst>
              <a:ext uri="{FF2B5EF4-FFF2-40B4-BE49-F238E27FC236}">
                <a16:creationId xmlns:a16="http://schemas.microsoft.com/office/drawing/2014/main" id="{FD775645-163A-1C11-7CD7-4A0405D2634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4001" y="323999"/>
            <a:ext cx="5772000" cy="6007973"/>
          </a:xfr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E65764E0-AB6E-2B6A-5ABA-EA835CFBFAB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909678" y="1491031"/>
            <a:ext cx="1359346" cy="1538883"/>
          </a:xfrm>
        </p:spPr>
        <p:txBody>
          <a:bodyPr wrap="none"/>
          <a:lstStyle>
            <a:lvl1pPr marL="0" indent="0" algn="r">
              <a:buNone/>
              <a:defRPr sz="10000" i="1" cap="all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02</a:t>
            </a:r>
            <a:endParaRPr lang="en-GB"/>
          </a:p>
        </p:txBody>
      </p:sp>
      <p:sp>
        <p:nvSpPr>
          <p:cNvPr id="13" name="Espace réservé du titre 1">
            <a:extLst>
              <a:ext uri="{FF2B5EF4-FFF2-40B4-BE49-F238E27FC236}">
                <a16:creationId xmlns:a16="http://schemas.microsoft.com/office/drawing/2014/main" id="{E9D51B95-7596-6D9C-932E-E231284D4F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61024" y="2910266"/>
            <a:ext cx="3708000" cy="134844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lnSpc>
                <a:spcPts val="5100"/>
              </a:lnSpc>
              <a:defRPr sz="5300">
                <a:solidFill>
                  <a:schemeClr val="accent1"/>
                </a:solidFill>
              </a:defRPr>
            </a:lvl1pPr>
          </a:lstStyle>
          <a:p>
            <a:r>
              <a:rPr lang="fr-FR" err="1"/>
              <a:t>Chapter</a:t>
            </a:r>
            <a:r>
              <a:rPr lang="fr-FR"/>
              <a:t> </a:t>
            </a:r>
            <a:r>
              <a:rPr lang="fr-FR" err="1"/>
              <a:t>title</a:t>
            </a:r>
            <a:br>
              <a:rPr lang="fr-FR"/>
            </a:br>
            <a:r>
              <a:rPr lang="fr-FR"/>
              <a:t>on multi-</a:t>
            </a:r>
            <a:r>
              <a:rPr lang="fr-FR" err="1"/>
              <a:t>lines</a:t>
            </a:r>
            <a:endParaRPr lang="en-GB"/>
          </a:p>
        </p:txBody>
      </p:sp>
      <p:sp>
        <p:nvSpPr>
          <p:cNvPr id="27" name="Espace réservé du texte 26">
            <a:extLst>
              <a:ext uri="{FF2B5EF4-FFF2-40B4-BE49-F238E27FC236}">
                <a16:creationId xmlns:a16="http://schemas.microsoft.com/office/drawing/2014/main" id="{EFA80C40-96E6-5C29-A8A5-D97F6BD37F5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31767" y="2897968"/>
            <a:ext cx="977430" cy="808546"/>
          </a:xfrm>
          <a:custGeom>
            <a:avLst/>
            <a:gdLst>
              <a:gd name="connsiteX0" fmla="*/ 182937 w 977430"/>
              <a:gd name="connsiteY0" fmla="*/ 0 h 808546"/>
              <a:gd name="connsiteX1" fmla="*/ 783399 w 977430"/>
              <a:gd name="connsiteY1" fmla="*/ 173568 h 808546"/>
              <a:gd name="connsiteX2" fmla="*/ 977430 w 977430"/>
              <a:gd name="connsiteY2" fmla="*/ 149037 h 808546"/>
              <a:gd name="connsiteX3" fmla="*/ 977430 w 977430"/>
              <a:gd name="connsiteY3" fmla="*/ 149160 h 808546"/>
              <a:gd name="connsiteX4" fmla="*/ 862047 w 977430"/>
              <a:gd name="connsiteY4" fmla="*/ 273296 h 808546"/>
              <a:gd name="connsiteX5" fmla="*/ 777481 w 977430"/>
              <a:gd name="connsiteY5" fmla="*/ 808546 h 808546"/>
              <a:gd name="connsiteX6" fmla="*/ 704257 w 977430"/>
              <a:gd name="connsiteY6" fmla="*/ 373270 h 808546"/>
              <a:gd name="connsiteX7" fmla="*/ 341589 w 977430"/>
              <a:gd name="connsiteY7" fmla="*/ 568411 h 808546"/>
              <a:gd name="connsiteX8" fmla="*/ 530196 w 977430"/>
              <a:gd name="connsiteY8" fmla="*/ 332960 h 808546"/>
              <a:gd name="connsiteX9" fmla="*/ 0 w 977430"/>
              <a:gd name="connsiteY9" fmla="*/ 394226 h 808546"/>
              <a:gd name="connsiteX10" fmla="*/ 552755 w 977430"/>
              <a:gd name="connsiteY10" fmla="*/ 220042 h 808546"/>
              <a:gd name="connsiteX11" fmla="*/ 182937 w 977430"/>
              <a:gd name="connsiteY11" fmla="*/ 0 h 808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77430" h="808546">
                <a:moveTo>
                  <a:pt x="182937" y="0"/>
                </a:moveTo>
                <a:cubicBezTo>
                  <a:pt x="396322" y="16642"/>
                  <a:pt x="657044" y="96276"/>
                  <a:pt x="783399" y="173568"/>
                </a:cubicBezTo>
                <a:cubicBezTo>
                  <a:pt x="860198" y="151995"/>
                  <a:pt x="950433" y="146201"/>
                  <a:pt x="977430" y="149037"/>
                </a:cubicBezTo>
                <a:lnTo>
                  <a:pt x="977430" y="149160"/>
                </a:lnTo>
                <a:cubicBezTo>
                  <a:pt x="962760" y="183923"/>
                  <a:pt x="931696" y="221768"/>
                  <a:pt x="862047" y="273296"/>
                </a:cubicBezTo>
                <a:cubicBezTo>
                  <a:pt x="887194" y="340479"/>
                  <a:pt x="827160" y="710544"/>
                  <a:pt x="777481" y="808546"/>
                </a:cubicBezTo>
                <a:cubicBezTo>
                  <a:pt x="775632" y="653715"/>
                  <a:pt x="762196" y="458328"/>
                  <a:pt x="704257" y="373270"/>
                </a:cubicBezTo>
                <a:cubicBezTo>
                  <a:pt x="552755" y="462396"/>
                  <a:pt x="511829" y="485818"/>
                  <a:pt x="341589" y="568411"/>
                </a:cubicBezTo>
                <a:cubicBezTo>
                  <a:pt x="456602" y="452904"/>
                  <a:pt x="530196" y="332960"/>
                  <a:pt x="530196" y="332960"/>
                </a:cubicBezTo>
                <a:cubicBezTo>
                  <a:pt x="378324" y="341096"/>
                  <a:pt x="157543" y="359340"/>
                  <a:pt x="0" y="394226"/>
                </a:cubicBezTo>
                <a:cubicBezTo>
                  <a:pt x="137203" y="320879"/>
                  <a:pt x="409266" y="239396"/>
                  <a:pt x="552755" y="220042"/>
                </a:cubicBezTo>
                <a:cubicBezTo>
                  <a:pt x="519472" y="174061"/>
                  <a:pt x="249997" y="28106"/>
                  <a:pt x="182937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108000" anchor="ctr" anchorCtr="0">
            <a:noAutofit/>
          </a:bodyPr>
          <a:lstStyle>
            <a:lvl1pPr algn="ctr">
              <a:defRPr sz="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z</a:t>
            </a:r>
          </a:p>
        </p:txBody>
      </p:sp>
    </p:spTree>
    <p:extLst>
      <p:ext uri="{BB962C8B-B14F-4D97-AF65-F5344CB8AC3E}">
        <p14:creationId xmlns:p14="http://schemas.microsoft.com/office/powerpoint/2010/main" val="2585314487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 20" descr="Une image contenant vert, Aileron, Turquoise&#10;&#10;Description générée automatiquement">
            <a:extLst>
              <a:ext uri="{FF2B5EF4-FFF2-40B4-BE49-F238E27FC236}">
                <a16:creationId xmlns:a16="http://schemas.microsoft.com/office/drawing/2014/main" id="{BC468E82-B687-C87C-1703-566546F6B0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2800" y="323051"/>
            <a:ext cx="11545200" cy="5364948"/>
          </a:xfrm>
          <a:prstGeom prst="rect">
            <a:avLst/>
          </a:prstGeom>
        </p:spPr>
      </p:pic>
      <p:sp>
        <p:nvSpPr>
          <p:cNvPr id="7" name="Espace réservé du titre 1">
            <a:extLst>
              <a:ext uri="{FF2B5EF4-FFF2-40B4-BE49-F238E27FC236}">
                <a16:creationId xmlns:a16="http://schemas.microsoft.com/office/drawing/2014/main" id="{88A445C9-42EC-235D-F3F7-C021A1EBBC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88555" y="2397201"/>
            <a:ext cx="5214889" cy="123110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>
              <a:defRPr b="0" i="1" cap="all" baseline="0">
                <a:solidFill>
                  <a:schemeClr val="bg1"/>
                </a:solidFill>
              </a:defRPr>
            </a:lvl1pPr>
          </a:lstStyle>
          <a:p>
            <a:r>
              <a:rPr lang="fr-FR" err="1"/>
              <a:t>Thank</a:t>
            </a:r>
            <a:r>
              <a:rPr lang="fr-FR"/>
              <a:t> </a:t>
            </a:r>
            <a:r>
              <a:rPr lang="fr-FR" err="1"/>
              <a:t>yo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298973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5025EC5-47D4-474F-E6DD-2DBA4E501433}"/>
              </a:ext>
            </a:extLst>
          </p:cNvPr>
          <p:cNvSpPr/>
          <p:nvPr userDrawn="1"/>
        </p:nvSpPr>
        <p:spPr>
          <a:xfrm>
            <a:off x="324000" y="323999"/>
            <a:ext cx="11545200" cy="536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/>
          </a:p>
        </p:txBody>
      </p:sp>
      <p:pic>
        <p:nvPicPr>
          <p:cNvPr id="1458" name="Image 1457">
            <a:extLst>
              <a:ext uri="{FF2B5EF4-FFF2-40B4-BE49-F238E27FC236}">
                <a16:creationId xmlns:a16="http://schemas.microsoft.com/office/drawing/2014/main" id="{E1698C1E-42D4-8916-8D53-36EFDAA11B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alphaModFix amt="50000"/>
          </a:blip>
          <a:srcRect l="57591" t="62128" r="17238" b="25443"/>
          <a:stretch/>
        </p:blipFill>
        <p:spPr>
          <a:xfrm>
            <a:off x="322800" y="323999"/>
            <a:ext cx="11545200" cy="5364000"/>
          </a:xfrm>
          <a:custGeom>
            <a:avLst/>
            <a:gdLst>
              <a:gd name="connsiteX0" fmla="*/ 0 w 12192000"/>
              <a:gd name="connsiteY0" fmla="*/ 0 h 6139793"/>
              <a:gd name="connsiteX1" fmla="*/ 12192000 w 12192000"/>
              <a:gd name="connsiteY1" fmla="*/ 0 h 6139793"/>
              <a:gd name="connsiteX2" fmla="*/ 12192000 w 12192000"/>
              <a:gd name="connsiteY2" fmla="*/ 6139793 h 6139793"/>
              <a:gd name="connsiteX3" fmla="*/ 0 w 12192000"/>
              <a:gd name="connsiteY3" fmla="*/ 6139793 h 6139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139793">
                <a:moveTo>
                  <a:pt x="0" y="0"/>
                </a:moveTo>
                <a:lnTo>
                  <a:pt x="12192000" y="0"/>
                </a:lnTo>
                <a:lnTo>
                  <a:pt x="12192000" y="6139793"/>
                </a:lnTo>
                <a:lnTo>
                  <a:pt x="0" y="6139793"/>
                </a:lnTo>
                <a:close/>
              </a:path>
            </a:pathLst>
          </a:custGeom>
        </p:spPr>
      </p:pic>
      <p:sp>
        <p:nvSpPr>
          <p:cNvPr id="8" name="Espace réservé du titre 1">
            <a:extLst>
              <a:ext uri="{FF2B5EF4-FFF2-40B4-BE49-F238E27FC236}">
                <a16:creationId xmlns:a16="http://schemas.microsoft.com/office/drawing/2014/main" id="{FFBE4F43-EDAB-1B60-C6C1-8D76FD50D2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88555" y="2397201"/>
            <a:ext cx="5214889" cy="123110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>
              <a:defRPr b="0" i="1" cap="all" baseline="0">
                <a:solidFill>
                  <a:schemeClr val="bg1"/>
                </a:solidFill>
              </a:defRPr>
            </a:lvl1pPr>
          </a:lstStyle>
          <a:p>
            <a:r>
              <a:rPr lang="fr-FR" err="1"/>
              <a:t>Thank</a:t>
            </a:r>
            <a:r>
              <a:rPr lang="fr-FR"/>
              <a:t> </a:t>
            </a:r>
            <a:r>
              <a:rPr lang="fr-FR" err="1"/>
              <a:t>yo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7538504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CCB32F8-26DE-0C85-ED15-5480ECAF4AD1}"/>
              </a:ext>
            </a:extLst>
          </p:cNvPr>
          <p:cNvSpPr/>
          <p:nvPr userDrawn="1"/>
        </p:nvSpPr>
        <p:spPr>
          <a:xfrm>
            <a:off x="6096000" y="323999"/>
            <a:ext cx="5772000" cy="6007973"/>
          </a:xfrm>
          <a:prstGeom prst="rect">
            <a:avLst/>
          </a:prstGeom>
          <a:solidFill>
            <a:schemeClr val="accent1"/>
          </a:solidFill>
          <a:ln w="5366" cap="flat">
            <a:noFill/>
            <a:prstDash val="solid"/>
            <a:miter/>
          </a:ln>
        </p:spPr>
        <p:txBody>
          <a:bodyPr lIns="180000" tIns="180000" rIns="180000" bIns="180000" rtlCol="0" anchor="b" anchorCtr="0"/>
          <a:lstStyle/>
          <a:p>
            <a:pPr lvl="0"/>
            <a:endParaRPr lang="en-GB" sz="14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Espace réservé du graphique 6">
            <a:extLst>
              <a:ext uri="{FF2B5EF4-FFF2-40B4-BE49-F238E27FC236}">
                <a16:creationId xmlns:a16="http://schemas.microsoft.com/office/drawing/2014/main" id="{571F7521-4F8D-EA28-C578-FA2A81BFB7F6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6351740" y="589935"/>
            <a:ext cx="5260370" cy="5475674"/>
          </a:xfrm>
        </p:spPr>
        <p:txBody>
          <a:bodyPr anchor="ctr" anchorCtr="0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Espace réservé du titre 1">
            <a:extLst>
              <a:ext uri="{FF2B5EF4-FFF2-40B4-BE49-F238E27FC236}">
                <a16:creationId xmlns:a16="http://schemas.microsoft.com/office/drawing/2014/main" id="{39545673-F5C0-563C-4E70-A8FFE5F0E8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2016000"/>
            <a:ext cx="4698059" cy="36933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fr-FR" err="1"/>
              <a:t>Title</a:t>
            </a:r>
            <a:endParaRPr lang="en-GB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AAE66CCE-D3BA-FB85-6138-BCA60ACF3B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139" y="2304000"/>
            <a:ext cx="4698436" cy="877163"/>
          </a:xfrm>
        </p:spPr>
        <p:txBody>
          <a:bodyPr/>
          <a:lstStyle>
            <a:lvl1pPr>
              <a:spcAft>
                <a:spcPts val="1800"/>
              </a:spcAft>
              <a:defRPr/>
            </a:lvl1pPr>
            <a:lvl2pPr>
              <a:defRPr/>
            </a:lvl2pPr>
          </a:lstStyle>
          <a:p>
            <a:pPr lvl="0"/>
            <a:r>
              <a:rPr lang="fr-FR" err="1"/>
              <a:t>Sub-title</a:t>
            </a:r>
            <a:endParaRPr lang="fr-FR"/>
          </a:p>
          <a:p>
            <a:pPr lvl="1"/>
            <a:r>
              <a:rPr lang="fr-FR" err="1"/>
              <a:t>Text</a:t>
            </a:r>
            <a:endParaRPr lang="fr-FR"/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477B7B38-0E39-25D6-23B7-8D808E72DCC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139" y="468000"/>
            <a:ext cx="4698436" cy="307777"/>
          </a:xfrm>
        </p:spPr>
        <p:txBody>
          <a:bodyPr/>
          <a:lstStyle>
            <a:lvl1pPr>
              <a:spcAft>
                <a:spcPts val="0"/>
              </a:spcAft>
              <a:defRPr sz="2000" cap="all" baseline="0">
                <a:solidFill>
                  <a:schemeClr val="accent1"/>
                </a:solidFill>
                <a:latin typeface="BNPP Sans Condensed" panose="02000000000000000000" pitchFamily="2" charset="0"/>
              </a:defRPr>
            </a:lvl1pPr>
            <a:lvl2pPr>
              <a:defRPr/>
            </a:lvl2pPr>
          </a:lstStyle>
          <a:p>
            <a:pPr lvl="0"/>
            <a:r>
              <a:rPr lang="fr-FR" err="1"/>
              <a:t>Chapter</a:t>
            </a:r>
            <a:r>
              <a:rPr lang="fr-FR"/>
              <a:t> </a:t>
            </a:r>
            <a:r>
              <a:rPr lang="fr-FR" err="1"/>
              <a:t>title</a:t>
            </a:r>
            <a:r>
              <a:rPr lang="fr-FR"/>
              <a:t> on one line</a:t>
            </a:r>
          </a:p>
        </p:txBody>
      </p:sp>
    </p:spTree>
    <p:extLst>
      <p:ext uri="{BB962C8B-B14F-4D97-AF65-F5344CB8AC3E}">
        <p14:creationId xmlns:p14="http://schemas.microsoft.com/office/powerpoint/2010/main" val="4278043135"/>
      </p:ext>
    </p:extLst>
  </p:cSld>
  <p:clrMapOvr>
    <a:masterClrMapping/>
  </p:clrMapOvr>
  <p:transition spd="slow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5025EC5-47D4-474F-E6DD-2DBA4E501433}"/>
              </a:ext>
            </a:extLst>
          </p:cNvPr>
          <p:cNvSpPr/>
          <p:nvPr userDrawn="1"/>
        </p:nvSpPr>
        <p:spPr>
          <a:xfrm>
            <a:off x="324000" y="323999"/>
            <a:ext cx="11545200" cy="536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/>
          </a:p>
        </p:txBody>
      </p:sp>
      <p:sp>
        <p:nvSpPr>
          <p:cNvPr id="2" name="Forme libre : forme 1">
            <a:extLst>
              <a:ext uri="{FF2B5EF4-FFF2-40B4-BE49-F238E27FC236}">
                <a16:creationId xmlns:a16="http://schemas.microsoft.com/office/drawing/2014/main" id="{F62CA914-6FFC-62FF-4063-B4AC5C808074}"/>
              </a:ext>
            </a:extLst>
          </p:cNvPr>
          <p:cNvSpPr/>
          <p:nvPr userDrawn="1"/>
        </p:nvSpPr>
        <p:spPr>
          <a:xfrm>
            <a:off x="324001" y="323999"/>
            <a:ext cx="8423553" cy="5364000"/>
          </a:xfrm>
          <a:custGeom>
            <a:avLst/>
            <a:gdLst>
              <a:gd name="connsiteX0" fmla="*/ 1230456 w 8423553"/>
              <a:gd name="connsiteY0" fmla="*/ 0 h 5364000"/>
              <a:gd name="connsiteX1" fmla="*/ 3700444 w 8423553"/>
              <a:gd name="connsiteY1" fmla="*/ 0 h 5364000"/>
              <a:gd name="connsiteX2" fmla="*/ 3732289 w 8423553"/>
              <a:gd name="connsiteY2" fmla="*/ 9770 h 5364000"/>
              <a:gd name="connsiteX3" fmla="*/ 6265911 w 8423553"/>
              <a:gd name="connsiteY3" fmla="*/ 1092375 h 5364000"/>
              <a:gd name="connsiteX4" fmla="*/ 8423553 w 8423553"/>
              <a:gd name="connsiteY4" fmla="*/ 819563 h 5364000"/>
              <a:gd name="connsiteX5" fmla="*/ 8423553 w 8423553"/>
              <a:gd name="connsiteY5" fmla="*/ 819691 h 5364000"/>
              <a:gd name="connsiteX6" fmla="*/ 7140187 w 8423553"/>
              <a:gd name="connsiteY6" fmla="*/ 2200072 h 5364000"/>
              <a:gd name="connsiteX7" fmla="*/ 6981774 w 8423553"/>
              <a:gd name="connsiteY7" fmla="*/ 5048351 h 5364000"/>
              <a:gd name="connsiteX8" fmla="*/ 6928290 w 8423553"/>
              <a:gd name="connsiteY8" fmla="*/ 5364000 h 5364000"/>
              <a:gd name="connsiteX9" fmla="*/ 6014529 w 8423553"/>
              <a:gd name="connsiteY9" fmla="*/ 5364000 h 5364000"/>
              <a:gd name="connsiteX10" fmla="*/ 5977330 w 8423553"/>
              <a:gd name="connsiteY10" fmla="*/ 5117940 h 5364000"/>
              <a:gd name="connsiteX11" fmla="*/ 5385262 w 8423553"/>
              <a:gd name="connsiteY11" fmla="*/ 3312357 h 5364000"/>
              <a:gd name="connsiteX12" fmla="*/ 1690456 w 8423553"/>
              <a:gd name="connsiteY12" fmla="*/ 5318255 h 5364000"/>
              <a:gd name="connsiteX13" fmla="*/ 1596363 w 8423553"/>
              <a:gd name="connsiteY13" fmla="*/ 5364000 h 5364000"/>
              <a:gd name="connsiteX14" fmla="*/ 1467310 w 8423553"/>
              <a:gd name="connsiteY14" fmla="*/ 5364000 h 5364000"/>
              <a:gd name="connsiteX15" fmla="*/ 1586013 w 8423553"/>
              <a:gd name="connsiteY15" fmla="*/ 5241934 h 5364000"/>
              <a:gd name="connsiteX16" fmla="*/ 3449821 w 8423553"/>
              <a:gd name="connsiteY16" fmla="*/ 2864383 h 5364000"/>
              <a:gd name="connsiteX17" fmla="*/ 525307 w 8423553"/>
              <a:gd name="connsiteY17" fmla="*/ 3092752 h 5364000"/>
              <a:gd name="connsiteX18" fmla="*/ 0 w 8423553"/>
              <a:gd name="connsiteY18" fmla="*/ 3153257 h 5364000"/>
              <a:gd name="connsiteX19" fmla="*/ 0 w 8423553"/>
              <a:gd name="connsiteY19" fmla="*/ 2548460 h 5364000"/>
              <a:gd name="connsiteX20" fmla="*/ 600267 w 8423553"/>
              <a:gd name="connsiteY20" fmla="*/ 2351967 h 5364000"/>
              <a:gd name="connsiteX21" fmla="*/ 3700325 w 8423553"/>
              <a:gd name="connsiteY21" fmla="*/ 1608553 h 5364000"/>
              <a:gd name="connsiteX22" fmla="*/ 1450502 w 8423553"/>
              <a:gd name="connsiteY22" fmla="*/ 121565 h 53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8423553" h="5364000">
                <a:moveTo>
                  <a:pt x="1230456" y="0"/>
                </a:moveTo>
                <a:lnTo>
                  <a:pt x="3700444" y="0"/>
                </a:lnTo>
                <a:lnTo>
                  <a:pt x="3732289" y="9770"/>
                </a:lnTo>
                <a:cubicBezTo>
                  <a:pt x="4749949" y="335127"/>
                  <a:pt x="5650895" y="716350"/>
                  <a:pt x="6265911" y="1092375"/>
                </a:cubicBezTo>
                <a:cubicBezTo>
                  <a:pt x="7119279" y="852198"/>
                  <a:pt x="8123333" y="787437"/>
                  <a:pt x="8423553" y="819563"/>
                </a:cubicBezTo>
                <a:lnTo>
                  <a:pt x="8423553" y="819691"/>
                </a:lnTo>
                <a:cubicBezTo>
                  <a:pt x="8259993" y="1206728"/>
                  <a:pt x="7915409" y="1626528"/>
                  <a:pt x="7140187" y="2200072"/>
                </a:cubicBezTo>
                <a:cubicBezTo>
                  <a:pt x="7280099" y="2573978"/>
                  <a:pt x="7182926" y="3789780"/>
                  <a:pt x="6981774" y="5048351"/>
                </a:cubicBezTo>
                <a:lnTo>
                  <a:pt x="6928290" y="5364000"/>
                </a:lnTo>
                <a:lnTo>
                  <a:pt x="6014529" y="5364000"/>
                </a:lnTo>
                <a:lnTo>
                  <a:pt x="5977330" y="5117940"/>
                </a:lnTo>
                <a:cubicBezTo>
                  <a:pt x="5854144" y="4374768"/>
                  <a:pt x="5666918" y="3725974"/>
                  <a:pt x="5385262" y="3312357"/>
                </a:cubicBezTo>
                <a:cubicBezTo>
                  <a:pt x="3805634" y="4241705"/>
                  <a:pt x="3307017" y="4529593"/>
                  <a:pt x="1690456" y="5318255"/>
                </a:cubicBezTo>
                <a:lnTo>
                  <a:pt x="1596363" y="5364000"/>
                </a:lnTo>
                <a:lnTo>
                  <a:pt x="1467310" y="5364000"/>
                </a:lnTo>
                <a:lnTo>
                  <a:pt x="1586013" y="5241934"/>
                </a:lnTo>
                <a:cubicBezTo>
                  <a:pt x="2730267" y="4037049"/>
                  <a:pt x="3449821" y="2864383"/>
                  <a:pt x="3449821" y="2864383"/>
                </a:cubicBezTo>
                <a:cubicBezTo>
                  <a:pt x="2605313" y="2909066"/>
                  <a:pt x="1569262" y="2982241"/>
                  <a:pt x="525307" y="3092752"/>
                </a:cubicBezTo>
                <a:lnTo>
                  <a:pt x="0" y="3153257"/>
                </a:lnTo>
                <a:lnTo>
                  <a:pt x="0" y="2548460"/>
                </a:lnTo>
                <a:lnTo>
                  <a:pt x="600267" y="2351967"/>
                </a:lnTo>
                <a:cubicBezTo>
                  <a:pt x="1746814" y="1996578"/>
                  <a:pt x="2902220" y="1716148"/>
                  <a:pt x="3700325" y="1608553"/>
                </a:cubicBezTo>
                <a:cubicBezTo>
                  <a:pt x="3491939" y="1320857"/>
                  <a:pt x="2452665" y="681549"/>
                  <a:pt x="1450502" y="12156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8" name="Espace réservé du titre 1">
            <a:extLst>
              <a:ext uri="{FF2B5EF4-FFF2-40B4-BE49-F238E27FC236}">
                <a16:creationId xmlns:a16="http://schemas.microsoft.com/office/drawing/2014/main" id="{FFBE4F43-EDAB-1B60-C6C1-8D76FD50D2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7324" y="2362997"/>
            <a:ext cx="2954462" cy="110799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>
              <a:defRPr sz="7200" b="1" i="0" cap="all" baseline="0">
                <a:solidFill>
                  <a:schemeClr val="bg1"/>
                </a:solidFill>
                <a:latin typeface="BNPP Sans Condensed" panose="02000000000000000000" pitchFamily="2" charset="0"/>
              </a:defRPr>
            </a:lvl1pPr>
          </a:lstStyle>
          <a:p>
            <a:r>
              <a:rPr lang="fr-FR" err="1"/>
              <a:t>Thank</a:t>
            </a:r>
            <a:r>
              <a:rPr lang="fr-FR"/>
              <a:t> </a:t>
            </a:r>
            <a:r>
              <a:rPr lang="fr-FR" err="1"/>
              <a:t>yo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3255583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6309D3A3-EBA4-E946-843C-49F4E102D9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2914" y="-7249"/>
            <a:ext cx="12204915" cy="6851931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-12914" y="5082369"/>
            <a:ext cx="12204915" cy="1775632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450" tIns="119537" rIns="121450" bIns="1195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4537"/>
            <a:endParaRPr lang="fr-FR" sz="1900">
              <a:solidFill>
                <a:srgbClr val="000000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 userDrawn="1">
            <p:ph type="ctrTitle" hasCustomPrompt="1"/>
          </p:nvPr>
        </p:nvSpPr>
        <p:spPr>
          <a:xfrm>
            <a:off x="520271" y="478827"/>
            <a:ext cx="7104790" cy="1334676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4799" b="1" cap="all" baseline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presentation title </a:t>
            </a:r>
            <a:br>
              <a:rPr lang="en-GB" noProof="0"/>
            </a:br>
            <a:r>
              <a:rPr lang="en-GB" noProof="0"/>
              <a:t>on multi-lines</a:t>
            </a:r>
          </a:p>
        </p:txBody>
      </p:sp>
      <p:sp>
        <p:nvSpPr>
          <p:cNvPr id="3" name="Sous-titr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20271" y="1800377"/>
            <a:ext cx="7104000" cy="432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3299" cap="all" baseline="0">
                <a:solidFill>
                  <a:schemeClr val="tx1"/>
                </a:solidFill>
                <a:latin typeface="+mj-lt"/>
              </a:defRPr>
            </a:lvl1pPr>
            <a:lvl2pPr marL="607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4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1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29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36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4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50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58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F826D2E-1D78-6E4F-9C99-53AEDD9EFBF7}"/>
              </a:ext>
            </a:extLst>
          </p:cNvPr>
          <p:cNvSpPr/>
          <p:nvPr userDrawn="1"/>
        </p:nvSpPr>
        <p:spPr>
          <a:xfrm>
            <a:off x="1403984" y="4782294"/>
            <a:ext cx="4656000" cy="603328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450" tIns="119537" rIns="121450" bIns="1195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4537"/>
            <a:endParaRPr lang="fr-FR" sz="1300">
              <a:solidFill>
                <a:srgbClr val="43B02A"/>
              </a:solidFill>
            </a:endParaRPr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88BE9EF1-F184-224F-B192-99B7BC2939E3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581472" y="4871760"/>
            <a:ext cx="4224000" cy="21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900" b="0" cap="all" baseline="0">
                <a:solidFill>
                  <a:schemeClr val="bg1"/>
                </a:solidFill>
              </a:defRPr>
            </a:lvl1pPr>
            <a:lvl2pPr marL="607269" indent="0">
              <a:buNone/>
              <a:defRPr sz="2699" b="1"/>
            </a:lvl2pPr>
            <a:lvl3pPr marL="1214537" indent="0">
              <a:buNone/>
              <a:defRPr sz="2400" b="1"/>
            </a:lvl3pPr>
            <a:lvl4pPr marL="1821807" indent="0">
              <a:buNone/>
              <a:defRPr sz="2100" b="1"/>
            </a:lvl4pPr>
            <a:lvl5pPr marL="2429075" indent="0">
              <a:buNone/>
              <a:defRPr sz="2100" b="1"/>
            </a:lvl5pPr>
            <a:lvl6pPr marL="3036344" indent="0">
              <a:buNone/>
              <a:defRPr sz="2100" b="1"/>
            </a:lvl6pPr>
            <a:lvl7pPr marL="3643612" indent="0">
              <a:buNone/>
              <a:defRPr sz="2100" b="1"/>
            </a:lvl7pPr>
            <a:lvl8pPr marL="4250881" indent="0">
              <a:buNone/>
              <a:defRPr sz="2100" b="1"/>
            </a:lvl8pPr>
            <a:lvl9pPr marL="4858150" indent="0">
              <a:buNone/>
              <a:defRPr sz="2100" b="1"/>
            </a:lvl9pPr>
          </a:lstStyle>
          <a:p>
            <a:r>
              <a:rPr lang="en-GB" noProof="0"/>
              <a:t>author’s name</a:t>
            </a:r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10797132-A486-C447-8F0C-D402415CD981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1581472" y="5095280"/>
            <a:ext cx="4224000" cy="21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900" b="0">
                <a:solidFill>
                  <a:schemeClr val="bg1"/>
                </a:solidFill>
              </a:defRPr>
            </a:lvl1pPr>
            <a:lvl2pPr marL="607269" indent="0">
              <a:buNone/>
              <a:defRPr sz="2699" b="1"/>
            </a:lvl2pPr>
            <a:lvl3pPr marL="1214537" indent="0">
              <a:buNone/>
              <a:defRPr sz="2400" b="1"/>
            </a:lvl3pPr>
            <a:lvl4pPr marL="1821807" indent="0">
              <a:buNone/>
              <a:defRPr sz="2100" b="1"/>
            </a:lvl4pPr>
            <a:lvl5pPr marL="2429075" indent="0">
              <a:buNone/>
              <a:defRPr sz="2100" b="1"/>
            </a:lvl5pPr>
            <a:lvl6pPr marL="3036344" indent="0">
              <a:buNone/>
              <a:defRPr sz="2100" b="1"/>
            </a:lvl6pPr>
            <a:lvl7pPr marL="3643612" indent="0">
              <a:buNone/>
              <a:defRPr sz="2100" b="1"/>
            </a:lvl7pPr>
            <a:lvl8pPr marL="4250881" indent="0">
              <a:buNone/>
              <a:defRPr sz="2100" b="1"/>
            </a:lvl8pPr>
            <a:lvl9pPr marL="4858150" indent="0">
              <a:buNone/>
              <a:defRPr sz="2100" b="1"/>
            </a:lvl9pPr>
          </a:lstStyle>
          <a:p>
            <a:r>
              <a:rPr lang="en-GB" noProof="0"/>
              <a:t>Location, 00/00/2015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B23CEB0F-E286-E44D-8A97-64AA269FAFB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6712" y="5457186"/>
            <a:ext cx="3808730" cy="1177363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30803" y="5948697"/>
            <a:ext cx="3163479" cy="296614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9556129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23F61434-0273-0C42-A2A5-CB90B42A27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31363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-12914" y="5082369"/>
            <a:ext cx="12204915" cy="1775632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450" tIns="119537" rIns="121450" bIns="1195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4537"/>
            <a:endParaRPr lang="fr-FR" sz="1900">
              <a:solidFill>
                <a:srgbClr val="000000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520271" y="478827"/>
            <a:ext cx="7104790" cy="1334676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4799" b="1" cap="all" baseline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presentation title </a:t>
            </a:r>
            <a:br>
              <a:rPr lang="en-GB" noProof="0"/>
            </a:br>
            <a:r>
              <a:rPr lang="en-GB" noProof="0"/>
              <a:t>on multi-lines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520271" y="1800377"/>
            <a:ext cx="7104000" cy="432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3299" cap="all" baseline="0">
                <a:solidFill>
                  <a:schemeClr val="tx1"/>
                </a:solidFill>
                <a:latin typeface="+mj-lt"/>
              </a:defRPr>
            </a:lvl1pPr>
            <a:lvl2pPr marL="607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4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1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29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36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4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50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58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91B2BD7-90CE-AB4E-A229-32659B659F5F}"/>
              </a:ext>
            </a:extLst>
          </p:cNvPr>
          <p:cNvSpPr/>
          <p:nvPr userDrawn="1"/>
        </p:nvSpPr>
        <p:spPr>
          <a:xfrm>
            <a:off x="1403984" y="4782294"/>
            <a:ext cx="4656000" cy="603328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450" tIns="119537" rIns="121450" bIns="1195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4537"/>
            <a:endParaRPr lang="fr-FR" sz="1300">
              <a:solidFill>
                <a:srgbClr val="43B02A"/>
              </a:solidFill>
            </a:endParaRPr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D25B6D2E-92E0-3845-929B-D1EC48E1CE14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581472" y="4871760"/>
            <a:ext cx="4224000" cy="21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900" b="0" cap="all" baseline="0">
                <a:solidFill>
                  <a:schemeClr val="bg1"/>
                </a:solidFill>
              </a:defRPr>
            </a:lvl1pPr>
            <a:lvl2pPr marL="607269" indent="0">
              <a:buNone/>
              <a:defRPr sz="2699" b="1"/>
            </a:lvl2pPr>
            <a:lvl3pPr marL="1214537" indent="0">
              <a:buNone/>
              <a:defRPr sz="2400" b="1"/>
            </a:lvl3pPr>
            <a:lvl4pPr marL="1821807" indent="0">
              <a:buNone/>
              <a:defRPr sz="2100" b="1"/>
            </a:lvl4pPr>
            <a:lvl5pPr marL="2429075" indent="0">
              <a:buNone/>
              <a:defRPr sz="2100" b="1"/>
            </a:lvl5pPr>
            <a:lvl6pPr marL="3036344" indent="0">
              <a:buNone/>
              <a:defRPr sz="2100" b="1"/>
            </a:lvl6pPr>
            <a:lvl7pPr marL="3643612" indent="0">
              <a:buNone/>
              <a:defRPr sz="2100" b="1"/>
            </a:lvl7pPr>
            <a:lvl8pPr marL="4250881" indent="0">
              <a:buNone/>
              <a:defRPr sz="2100" b="1"/>
            </a:lvl8pPr>
            <a:lvl9pPr marL="4858150" indent="0">
              <a:buNone/>
              <a:defRPr sz="2100" b="1"/>
            </a:lvl9pPr>
          </a:lstStyle>
          <a:p>
            <a:r>
              <a:rPr lang="en-GB" noProof="0"/>
              <a:t>author’s name</a:t>
            </a:r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35343556-52A6-0943-B0EE-5B3202826060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1581472" y="5095280"/>
            <a:ext cx="4224000" cy="21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900" b="0">
                <a:solidFill>
                  <a:schemeClr val="bg1"/>
                </a:solidFill>
              </a:defRPr>
            </a:lvl1pPr>
            <a:lvl2pPr marL="607269" indent="0">
              <a:buNone/>
              <a:defRPr sz="2699" b="1"/>
            </a:lvl2pPr>
            <a:lvl3pPr marL="1214537" indent="0">
              <a:buNone/>
              <a:defRPr sz="2400" b="1"/>
            </a:lvl3pPr>
            <a:lvl4pPr marL="1821807" indent="0">
              <a:buNone/>
              <a:defRPr sz="2100" b="1"/>
            </a:lvl4pPr>
            <a:lvl5pPr marL="2429075" indent="0">
              <a:buNone/>
              <a:defRPr sz="2100" b="1"/>
            </a:lvl5pPr>
            <a:lvl6pPr marL="3036344" indent="0">
              <a:buNone/>
              <a:defRPr sz="2100" b="1"/>
            </a:lvl6pPr>
            <a:lvl7pPr marL="3643612" indent="0">
              <a:buNone/>
              <a:defRPr sz="2100" b="1"/>
            </a:lvl7pPr>
            <a:lvl8pPr marL="4250881" indent="0">
              <a:buNone/>
              <a:defRPr sz="2100" b="1"/>
            </a:lvl8pPr>
            <a:lvl9pPr marL="4858150" indent="0">
              <a:buNone/>
              <a:defRPr sz="2100" b="1"/>
            </a:lvl9pPr>
          </a:lstStyle>
          <a:p>
            <a:r>
              <a:rPr lang="en-GB" noProof="0"/>
              <a:t>Location, 00/00/2015</a:t>
            </a: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01DF4410-4461-6344-8A69-73292B2F9AC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6712" y="5457186"/>
            <a:ext cx="3808730" cy="1177363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30803" y="5948697"/>
            <a:ext cx="3163479" cy="296614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38660266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C:\Users\ChristineB\Seenk-D\BNPP\2015-05\fond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985" y="2"/>
            <a:ext cx="12192001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 userDrawn="1"/>
        </p:nvSpPr>
        <p:spPr>
          <a:xfrm>
            <a:off x="0" y="5082369"/>
            <a:ext cx="12196984" cy="1775632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450" tIns="119537" rIns="121450" bIns="1195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4537"/>
            <a:endParaRPr lang="fr-FR" sz="1900">
              <a:solidFill>
                <a:srgbClr val="000000"/>
              </a:solidFill>
            </a:endParaRPr>
          </a:p>
        </p:txBody>
      </p:sp>
      <p:sp>
        <p:nvSpPr>
          <p:cNvPr id="15" name="Titre 1"/>
          <p:cNvSpPr>
            <a:spLocks noGrp="1"/>
          </p:cNvSpPr>
          <p:nvPr>
            <p:ph type="ctrTitle" hasCustomPrompt="1"/>
          </p:nvPr>
        </p:nvSpPr>
        <p:spPr>
          <a:xfrm>
            <a:off x="520271" y="478827"/>
            <a:ext cx="7104790" cy="1334676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4799" b="1" cap="all" baseline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presentation title </a:t>
            </a:r>
            <a:br>
              <a:rPr lang="en-GB" noProof="0"/>
            </a:br>
            <a:r>
              <a:rPr lang="en-GB" noProof="0"/>
              <a:t>on multi-lines</a:t>
            </a:r>
          </a:p>
        </p:txBody>
      </p:sp>
      <p:sp>
        <p:nvSpPr>
          <p:cNvPr id="16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520271" y="1800377"/>
            <a:ext cx="7104000" cy="432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3299" cap="all" baseline="0">
                <a:solidFill>
                  <a:schemeClr val="tx1"/>
                </a:solidFill>
                <a:latin typeface="+mj-lt"/>
              </a:defRPr>
            </a:lvl1pPr>
            <a:lvl2pPr marL="607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4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1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29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36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4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50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58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EE377D3-1526-EA40-B0BA-4F8D0EA15FEE}"/>
              </a:ext>
            </a:extLst>
          </p:cNvPr>
          <p:cNvSpPr/>
          <p:nvPr userDrawn="1"/>
        </p:nvSpPr>
        <p:spPr>
          <a:xfrm>
            <a:off x="1403984" y="4782294"/>
            <a:ext cx="4656000" cy="603328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450" tIns="119537" rIns="121450" bIns="1195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4537"/>
            <a:endParaRPr lang="fr-FR" sz="1300">
              <a:solidFill>
                <a:srgbClr val="43B02A"/>
              </a:solidFill>
            </a:endParaRPr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1A0513CA-23BF-D94B-8F5C-737DAAA8AE5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581472" y="4871760"/>
            <a:ext cx="4224000" cy="21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900" b="0" cap="all" baseline="0">
                <a:solidFill>
                  <a:schemeClr val="bg1"/>
                </a:solidFill>
              </a:defRPr>
            </a:lvl1pPr>
            <a:lvl2pPr marL="607269" indent="0">
              <a:buNone/>
              <a:defRPr sz="2699" b="1"/>
            </a:lvl2pPr>
            <a:lvl3pPr marL="1214537" indent="0">
              <a:buNone/>
              <a:defRPr sz="2400" b="1"/>
            </a:lvl3pPr>
            <a:lvl4pPr marL="1821807" indent="0">
              <a:buNone/>
              <a:defRPr sz="2100" b="1"/>
            </a:lvl4pPr>
            <a:lvl5pPr marL="2429075" indent="0">
              <a:buNone/>
              <a:defRPr sz="2100" b="1"/>
            </a:lvl5pPr>
            <a:lvl6pPr marL="3036344" indent="0">
              <a:buNone/>
              <a:defRPr sz="2100" b="1"/>
            </a:lvl6pPr>
            <a:lvl7pPr marL="3643612" indent="0">
              <a:buNone/>
              <a:defRPr sz="2100" b="1"/>
            </a:lvl7pPr>
            <a:lvl8pPr marL="4250881" indent="0">
              <a:buNone/>
              <a:defRPr sz="2100" b="1"/>
            </a:lvl8pPr>
            <a:lvl9pPr marL="4858150" indent="0">
              <a:buNone/>
              <a:defRPr sz="2100" b="1"/>
            </a:lvl9pPr>
          </a:lstStyle>
          <a:p>
            <a:r>
              <a:rPr lang="en-GB" noProof="0"/>
              <a:t>author’s name</a:t>
            </a:r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04093FB8-107F-5341-A7E7-91BBDF05132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1581472" y="5095280"/>
            <a:ext cx="4224000" cy="21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900" b="0">
                <a:solidFill>
                  <a:schemeClr val="bg1"/>
                </a:solidFill>
              </a:defRPr>
            </a:lvl1pPr>
            <a:lvl2pPr marL="607269" indent="0">
              <a:buNone/>
              <a:defRPr sz="2699" b="1"/>
            </a:lvl2pPr>
            <a:lvl3pPr marL="1214537" indent="0">
              <a:buNone/>
              <a:defRPr sz="2400" b="1"/>
            </a:lvl3pPr>
            <a:lvl4pPr marL="1821807" indent="0">
              <a:buNone/>
              <a:defRPr sz="2100" b="1"/>
            </a:lvl4pPr>
            <a:lvl5pPr marL="2429075" indent="0">
              <a:buNone/>
              <a:defRPr sz="2100" b="1"/>
            </a:lvl5pPr>
            <a:lvl6pPr marL="3036344" indent="0">
              <a:buNone/>
              <a:defRPr sz="2100" b="1"/>
            </a:lvl6pPr>
            <a:lvl7pPr marL="3643612" indent="0">
              <a:buNone/>
              <a:defRPr sz="2100" b="1"/>
            </a:lvl7pPr>
            <a:lvl8pPr marL="4250881" indent="0">
              <a:buNone/>
              <a:defRPr sz="2100" b="1"/>
            </a:lvl8pPr>
            <a:lvl9pPr marL="4858150" indent="0">
              <a:buNone/>
              <a:defRPr sz="2100" b="1"/>
            </a:lvl9pPr>
          </a:lstStyle>
          <a:p>
            <a:r>
              <a:rPr lang="en-GB" noProof="0"/>
              <a:t>Location, 00/00/2015</a:t>
            </a: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84624AD8-89E7-274D-9E08-A52A476BD9E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6712" y="5457186"/>
            <a:ext cx="3808730" cy="1177363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30803" y="5948697"/>
            <a:ext cx="3163479" cy="296614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3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470085" y="6395560"/>
            <a:ext cx="2688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pPr defTabSz="1211636">
              <a:defRPr/>
            </a:pPr>
            <a:r>
              <a:rPr lang="en-GB">
                <a:solidFill>
                  <a:srgbClr val="000000"/>
                </a:solidFill>
              </a:rPr>
              <a:t>Fundamentals workshop Agile@Arval</a:t>
            </a:r>
          </a:p>
        </p:txBody>
      </p:sp>
      <p:sp>
        <p:nvSpPr>
          <p:cNvPr id="14" name="Espace réservé du numéro de diapositive 1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59692" y="6395560"/>
            <a:ext cx="24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100" b="1">
                <a:solidFill>
                  <a:schemeClr val="tx1"/>
                </a:solidFill>
              </a:defRPr>
            </a:lvl1pPr>
          </a:lstStyle>
          <a:p>
            <a:pPr defTabSz="1211636">
              <a:defRPr/>
            </a:pPr>
            <a:fld id="{276219AF-F5ED-455B-A512-B03AB3602319}" type="slidenum">
              <a:rPr lang="en-GB" smtClean="0">
                <a:solidFill>
                  <a:srgbClr val="000000"/>
                </a:solidFill>
              </a:rPr>
              <a:pPr defTabSz="1211636">
                <a:defRPr/>
              </a:pPr>
              <a:t>‹N°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4244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>
                <a:solidFill>
                  <a:srgbClr val="000000"/>
                </a:solidFill>
              </a:rPr>
              <a:t>Fundamentals workshop Agile@Arval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7 October 2022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219AF-F5ED-455B-A512-B03AB3602319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464949" y="332656"/>
            <a:ext cx="6207116" cy="4104456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450" tIns="119537" rIns="121450" bIns="1195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4052" defTabSz="1214537">
              <a:lnSpc>
                <a:spcPct val="120000"/>
              </a:lnSpc>
            </a:pPr>
            <a:r>
              <a:rPr lang="en-GB" sz="1600" b="1" u="sng">
                <a:solidFill>
                  <a:srgbClr val="000000"/>
                </a:solidFill>
              </a:rPr>
              <a:t>HOW TO INSERT A PICTURE ON A SLIDE WITH SEVERAL SHAPES?</a:t>
            </a:r>
          </a:p>
          <a:p>
            <a:pPr marL="234052" defTabSz="1214537">
              <a:lnSpc>
                <a:spcPct val="120000"/>
              </a:lnSpc>
            </a:pPr>
            <a:endParaRPr lang="en-GB" sz="1600" u="sng">
              <a:solidFill>
                <a:srgbClr val="000000"/>
              </a:solidFill>
            </a:endParaRPr>
          </a:p>
          <a:p>
            <a:pPr marL="478646" indent="-244594" defTabSz="1214537">
              <a:lnSpc>
                <a:spcPct val="120000"/>
              </a:lnSpc>
              <a:buFont typeface="Courier New" panose="02070309020205020404" pitchFamily="49" charset="0"/>
              <a:buChar char="o"/>
              <a:tabLst>
                <a:tab pos="2140201" algn="l"/>
              </a:tabLst>
            </a:pPr>
            <a:r>
              <a:rPr lang="en-GB" sz="1600">
                <a:solidFill>
                  <a:srgbClr val="000000"/>
                </a:solidFill>
              </a:rPr>
              <a:t>View </a:t>
            </a:r>
            <a:r>
              <a:rPr lang="en-GB" sz="1600">
                <a:solidFill>
                  <a:srgbClr val="000000"/>
                </a:solidFill>
                <a:sym typeface="Wingdings 3"/>
              </a:rPr>
              <a:t> Slide Master</a:t>
            </a:r>
          </a:p>
          <a:p>
            <a:pPr marL="478646" indent="-244594" defTabSz="1214537">
              <a:lnSpc>
                <a:spcPct val="120000"/>
              </a:lnSpc>
              <a:buFont typeface="Courier New" panose="02070309020205020404" pitchFamily="49" charset="0"/>
              <a:buChar char="o"/>
              <a:tabLst>
                <a:tab pos="2140201" algn="l"/>
              </a:tabLst>
            </a:pPr>
            <a:r>
              <a:rPr lang="en-GB" sz="1600">
                <a:solidFill>
                  <a:srgbClr val="000000"/>
                </a:solidFill>
                <a:sym typeface="Wingdings 3"/>
              </a:rPr>
              <a:t>Choose slide Title with picture</a:t>
            </a:r>
          </a:p>
          <a:p>
            <a:pPr marL="478646" indent="-244594" defTabSz="1214537">
              <a:lnSpc>
                <a:spcPct val="120000"/>
              </a:lnSpc>
              <a:buFont typeface="Courier New" panose="02070309020205020404" pitchFamily="49" charset="0"/>
              <a:buChar char="o"/>
              <a:tabLst>
                <a:tab pos="2140201" algn="l"/>
              </a:tabLst>
            </a:pPr>
            <a:r>
              <a:rPr lang="en-GB" sz="1600">
                <a:solidFill>
                  <a:srgbClr val="000000"/>
                </a:solidFill>
                <a:sym typeface="Wingdings 3"/>
              </a:rPr>
              <a:t>Insert your picture</a:t>
            </a:r>
          </a:p>
          <a:p>
            <a:pPr marL="478646" indent="-244594" defTabSz="1214537">
              <a:lnSpc>
                <a:spcPct val="120000"/>
              </a:lnSpc>
              <a:buFont typeface="Courier New" panose="02070309020205020404" pitchFamily="49" charset="0"/>
              <a:buChar char="o"/>
              <a:tabLst>
                <a:tab pos="2140201" algn="l"/>
              </a:tabLst>
            </a:pPr>
            <a:r>
              <a:rPr lang="en-GB" sz="1600">
                <a:solidFill>
                  <a:srgbClr val="000000"/>
                </a:solidFill>
                <a:sym typeface="Wingdings 3"/>
              </a:rPr>
              <a:t>Right click on picture, choose Send Backward</a:t>
            </a:r>
          </a:p>
          <a:p>
            <a:pPr marL="478646" indent="-244594" defTabSz="1214537">
              <a:lnSpc>
                <a:spcPct val="120000"/>
              </a:lnSpc>
              <a:buFont typeface="Courier New" panose="02070309020205020404" pitchFamily="49" charset="0"/>
              <a:buChar char="o"/>
              <a:tabLst>
                <a:tab pos="2140201" algn="l"/>
              </a:tabLst>
              <a:defRPr/>
            </a:pPr>
            <a:r>
              <a:rPr lang="en-GB" sz="1600">
                <a:solidFill>
                  <a:srgbClr val="000000"/>
                </a:solidFill>
                <a:sym typeface="Wingdings 3"/>
              </a:rPr>
              <a:t>Delete the slide with text</a:t>
            </a:r>
            <a:br>
              <a:rPr lang="en-GB" sz="1600">
                <a:solidFill>
                  <a:srgbClr val="000000"/>
                </a:solidFill>
                <a:sym typeface="Wingdings 3"/>
              </a:rPr>
            </a:br>
            <a:r>
              <a:rPr lang="en-GB" sz="1600">
                <a:solidFill>
                  <a:srgbClr val="000000"/>
                </a:solidFill>
                <a:sym typeface="Wingdings 3"/>
              </a:rPr>
              <a:t>(just to show right place and size for the picture)</a:t>
            </a:r>
          </a:p>
          <a:p>
            <a:pPr marL="234052" defTabSz="1214537">
              <a:lnSpc>
                <a:spcPct val="120000"/>
              </a:lnSpc>
              <a:buFont typeface="Courier New" panose="02070309020205020404" pitchFamily="49" charset="0"/>
              <a:buNone/>
            </a:pPr>
            <a:endParaRPr lang="en-GB" sz="1600">
              <a:solidFill>
                <a:srgbClr val="000000"/>
              </a:solidFill>
              <a:sym typeface="Wingdings 3"/>
            </a:endParaRPr>
          </a:p>
          <a:p>
            <a:pPr marL="234052" defTabSz="1214537">
              <a:lnSpc>
                <a:spcPct val="120000"/>
              </a:lnSpc>
              <a:buFont typeface="Courier New" panose="02070309020205020404" pitchFamily="49" charset="0"/>
              <a:buNone/>
            </a:pPr>
            <a:r>
              <a:rPr lang="en-GB" sz="1600">
                <a:solidFill>
                  <a:srgbClr val="000000"/>
                </a:solidFill>
                <a:sym typeface="Wingdings 3"/>
              </a:rPr>
              <a:t>To create many same slides with different pictures: </a:t>
            </a:r>
          </a:p>
          <a:p>
            <a:pPr marL="234052" defTabSz="1214537">
              <a:lnSpc>
                <a:spcPct val="120000"/>
              </a:lnSpc>
              <a:buFont typeface="Courier New" panose="02070309020205020404" pitchFamily="49" charset="0"/>
              <a:buNone/>
            </a:pPr>
            <a:r>
              <a:rPr lang="en-GB" sz="1600">
                <a:solidFill>
                  <a:srgbClr val="000000"/>
                </a:solidFill>
                <a:sym typeface="Wingdings 3"/>
              </a:rPr>
              <a:t>copy/paste this slide and change the picture</a:t>
            </a:r>
          </a:p>
          <a:p>
            <a:pPr marL="234052" defTabSz="1214537">
              <a:lnSpc>
                <a:spcPct val="120000"/>
              </a:lnSpc>
              <a:buFont typeface="Courier New" panose="02070309020205020404" pitchFamily="49" charset="0"/>
              <a:buNone/>
            </a:pPr>
            <a:endParaRPr lang="en-GB" sz="1600">
              <a:solidFill>
                <a:srgbClr val="000000"/>
              </a:solidFill>
              <a:sym typeface="Wingdings 3"/>
            </a:endParaRPr>
          </a:p>
          <a:p>
            <a:pPr marL="234052" defTabSz="1214537">
              <a:lnSpc>
                <a:spcPct val="120000"/>
              </a:lnSpc>
              <a:buFont typeface="Courier New" panose="02070309020205020404" pitchFamily="49" charset="0"/>
              <a:buNone/>
            </a:pPr>
            <a:r>
              <a:rPr lang="en-GB" sz="1600">
                <a:solidFill>
                  <a:srgbClr val="000000"/>
                </a:solidFill>
                <a:sym typeface="Wingdings 3"/>
              </a:rPr>
              <a:t>ATTENTION : do not insert the picture with Format Background</a:t>
            </a:r>
            <a:endParaRPr lang="en-GB" sz="1600">
              <a:solidFill>
                <a:srgbClr val="000000"/>
              </a:solidFill>
            </a:endParaRPr>
          </a:p>
        </p:txBody>
      </p:sp>
      <p:pic>
        <p:nvPicPr>
          <p:cNvPr id="9220" name="Picture 4" descr="http://www.google.fr/url?source=imglanding&amp;ct=img&amp;q=http://www.mydigitallife.info/wp-content/uploads/2010/06/ppt-master-slide.jpg&amp;sa=X&amp;ei=qWJoVcaVKMzeUbS3gIgE&amp;ved=0CAkQ8wc4Ig&amp;usg=AFQjCNFRVOwtBibdUtmdbmupjDYh2rvQk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08236" y="332656"/>
            <a:ext cx="3489060" cy="712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e 1"/>
          <p:cNvGrpSpPr/>
          <p:nvPr userDrawn="1"/>
        </p:nvGrpSpPr>
        <p:grpSpPr>
          <a:xfrm>
            <a:off x="6864087" y="1895933"/>
            <a:ext cx="4833209" cy="4142779"/>
            <a:chOff x="4633595" y="1895912"/>
            <a:chExt cx="4402901" cy="3846138"/>
          </a:xfrm>
        </p:grpSpPr>
        <p:pic>
          <p:nvPicPr>
            <p:cNvPr id="9224" name="Picture 8"/>
            <p:cNvPicPr>
              <a:picLocks noChangeAspect="1" noChangeArrowheads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633597" y="1895912"/>
              <a:ext cx="4402899" cy="308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Picture 2"/>
            <p:cNvPicPr>
              <a:picLocks noChangeAspect="1" noChangeArrowheads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633595" y="2675364"/>
              <a:ext cx="4402901" cy="30666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9226" name="Picture 10" descr="C:\Users\ChristineB\Desktop\Sans titre 6.pn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07180" y="3461401"/>
            <a:ext cx="2988397" cy="2227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30" name="Picture 14" descr="http://www.google.fr/url?source=imglanding&amp;ct=img&amp;q=http://www.dvd-ppt-slideshow.com/blog/wp-content/uploads/2012/08/texture-powerpoint-theme-2.png&amp;sa=X&amp;ei=Gm1oVc2wJcu3Ub-DgMgF&amp;ved=0CAkQ8wc&amp;usg=AFQjCNFmMM-KW7TpX3rDpuxzu9nx4s4UTw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92175" y="4784422"/>
            <a:ext cx="2112234" cy="1241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464949" y="4620406"/>
            <a:ext cx="2366689" cy="4134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450" tIns="119537" rIns="121450" bIns="1195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4537"/>
            <a:r>
              <a:rPr lang="en-GB" sz="1800" b="1">
                <a:solidFill>
                  <a:srgbClr val="D0DF00"/>
                </a:solidFill>
                <a:sym typeface="Wingdings 3"/>
              </a:rPr>
              <a:t></a:t>
            </a:r>
            <a:r>
              <a:rPr lang="en-GB" sz="1900">
                <a:solidFill>
                  <a:srgbClr val="FFFFFF"/>
                </a:solidFill>
                <a:sym typeface="Wingdings 3"/>
              </a:rPr>
              <a:t>   </a:t>
            </a:r>
            <a:r>
              <a:rPr lang="en-GB" sz="1900">
                <a:solidFill>
                  <a:srgbClr val="FFFFFF"/>
                </a:solidFill>
              </a:rPr>
              <a:t>NOT TO DO</a:t>
            </a:r>
            <a:r>
              <a:rPr lang="en-GB" sz="1800" b="1">
                <a:solidFill>
                  <a:srgbClr val="D0DF00"/>
                </a:solidFill>
                <a:sym typeface="Wingdings 3"/>
              </a:rPr>
              <a:t></a:t>
            </a:r>
            <a:endParaRPr lang="en-GB" sz="1800">
              <a:solidFill>
                <a:srgbClr val="D0D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3065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14"/>
          <p:cNvCxnSpPr/>
          <p:nvPr userDrawn="1"/>
        </p:nvCxnSpPr>
        <p:spPr>
          <a:xfrm>
            <a:off x="456772" y="6102440"/>
            <a:ext cx="1128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>
          <a:xfrm>
            <a:off x="-21367" y="608224"/>
            <a:ext cx="720000" cy="0"/>
          </a:xfrm>
          <a:prstGeom prst="line">
            <a:avLst/>
          </a:prstGeom>
          <a:ln>
            <a:solidFill>
              <a:srgbClr val="0091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83250" y="163319"/>
            <a:ext cx="7104000" cy="43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2400" b="1" cap="all" spc="300" baseline="0">
                <a:solidFill>
                  <a:schemeClr val="tx2"/>
                </a:solidFill>
                <a:latin typeface="BNPP Sans Condensed" panose="02000000000000000000" pitchFamily="2" charset="0"/>
              </a:defRPr>
            </a:lvl1pPr>
            <a:lvl2pPr marL="607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4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1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29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36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4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50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58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INSERT TITLE</a:t>
            </a:r>
          </a:p>
        </p:txBody>
      </p:sp>
      <p:pic>
        <p:nvPicPr>
          <p:cNvPr id="12" name="Image 11" descr="PPT_43-06.png">
            <a:extLst>
              <a:ext uri="{FF2B5EF4-FFF2-40B4-BE49-F238E27FC236}">
                <a16:creationId xmlns:a16="http://schemas.microsoft.com/office/drawing/2014/main" id="{3685EB29-D7A6-694B-8856-D08B7EC220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3158" y="6261249"/>
            <a:ext cx="1875651" cy="433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97906" y="6401600"/>
            <a:ext cx="2396188" cy="224671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470085" y="6395560"/>
            <a:ext cx="2688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pPr defTabSz="1211636">
              <a:defRPr/>
            </a:pPr>
            <a:r>
              <a:rPr lang="en-GB">
                <a:solidFill>
                  <a:srgbClr val="000000"/>
                </a:solidFill>
              </a:rPr>
              <a:t>Agile@Arval Status update</a:t>
            </a:r>
          </a:p>
        </p:txBody>
      </p:sp>
    </p:spTree>
    <p:extLst>
      <p:ext uri="{BB962C8B-B14F-4D97-AF65-F5344CB8AC3E}">
        <p14:creationId xmlns:p14="http://schemas.microsoft.com/office/powerpoint/2010/main" val="15905248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-21367" y="608224"/>
            <a:ext cx="696226" cy="0"/>
          </a:xfrm>
          <a:prstGeom prst="line">
            <a:avLst/>
          </a:prstGeom>
          <a:ln>
            <a:solidFill>
              <a:srgbClr val="0091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83250" y="163319"/>
            <a:ext cx="7104000" cy="43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2400" b="1" cap="all" spc="300" baseline="0">
                <a:solidFill>
                  <a:schemeClr val="tx2"/>
                </a:solidFill>
                <a:latin typeface="BNPP Sans Condensed" panose="02000000000000000000" pitchFamily="2" charset="0"/>
              </a:defRPr>
            </a:lvl1pPr>
            <a:lvl2pPr marL="607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4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1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29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36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4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50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58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12289166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14"/>
          <p:cNvCxnSpPr/>
          <p:nvPr userDrawn="1"/>
        </p:nvCxnSpPr>
        <p:spPr>
          <a:xfrm>
            <a:off x="456772" y="6102440"/>
            <a:ext cx="1128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Image 5" descr="PPT_43-06.png">
            <a:extLst>
              <a:ext uri="{FF2B5EF4-FFF2-40B4-BE49-F238E27FC236}">
                <a16:creationId xmlns:a16="http://schemas.microsoft.com/office/drawing/2014/main" id="{639DD4DB-2DEC-7F47-9C93-C86E397B25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3158" y="6261249"/>
            <a:ext cx="1875651" cy="433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Image 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97906" y="6401600"/>
            <a:ext cx="2396188" cy="224671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470085" y="6395560"/>
            <a:ext cx="2688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pPr defTabSz="1211636">
              <a:defRPr/>
            </a:pPr>
            <a:r>
              <a:rPr lang="en-GB">
                <a:solidFill>
                  <a:srgbClr val="000000"/>
                </a:solidFill>
              </a:rPr>
              <a:t>Fundamentals workshop Agile@Arval</a:t>
            </a:r>
          </a:p>
        </p:txBody>
      </p:sp>
      <p:sp>
        <p:nvSpPr>
          <p:cNvPr id="8" name="Espace réservé du numéro de diapositive 1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59692" y="6395560"/>
            <a:ext cx="24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100" b="1">
                <a:solidFill>
                  <a:schemeClr val="tx1"/>
                </a:solidFill>
              </a:defRPr>
            </a:lvl1pPr>
          </a:lstStyle>
          <a:p>
            <a:pPr defTabSz="1211636">
              <a:defRPr/>
            </a:pPr>
            <a:fld id="{276219AF-F5ED-455B-A512-B03AB3602319}" type="slidenum">
              <a:rPr lang="en-GB" smtClean="0">
                <a:solidFill>
                  <a:srgbClr val="000000"/>
                </a:solidFill>
              </a:rPr>
              <a:pPr defTabSz="1211636">
                <a:defRPr/>
              </a:pPr>
              <a:t>‹N°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95296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646707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5080"/>
            <a:ext cx="12192000" cy="611221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166" tIns="60580" rIns="121166" bIns="60580" rtlCol="0" anchor="ctr"/>
          <a:lstStyle/>
          <a:p>
            <a:pPr algn="ctr" defTabSz="1211636"/>
            <a:endParaRPr lang="pt-PT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53057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Une image contenant Caractère coloré, vert, courbe&#10;&#10;Description générée automatiquement">
            <a:extLst>
              <a:ext uri="{FF2B5EF4-FFF2-40B4-BE49-F238E27FC236}">
                <a16:creationId xmlns:a16="http://schemas.microsoft.com/office/drawing/2014/main" id="{55FE3616-2AC0-F2BC-542E-D996A7C047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84" r="1"/>
          <a:stretch/>
        </p:blipFill>
        <p:spPr>
          <a:xfrm>
            <a:off x="6096000" y="324175"/>
            <a:ext cx="5772000" cy="6007620"/>
          </a:xfrm>
          <a:prstGeom prst="rect">
            <a:avLst/>
          </a:prstGeom>
        </p:spPr>
      </p:pic>
      <p:sp>
        <p:nvSpPr>
          <p:cNvPr id="5" name="Espace réservé du titre 1">
            <a:extLst>
              <a:ext uri="{FF2B5EF4-FFF2-40B4-BE49-F238E27FC236}">
                <a16:creationId xmlns:a16="http://schemas.microsoft.com/office/drawing/2014/main" id="{39545673-F5C0-563C-4E70-A8FFE5F0E8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2016000"/>
            <a:ext cx="4698059" cy="36933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fr-FR" err="1"/>
              <a:t>Title</a:t>
            </a:r>
            <a:endParaRPr lang="en-GB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AAE66CCE-D3BA-FB85-6138-BCA60ACF3B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139" y="2304000"/>
            <a:ext cx="4698436" cy="877163"/>
          </a:xfrm>
        </p:spPr>
        <p:txBody>
          <a:bodyPr/>
          <a:lstStyle>
            <a:lvl1pPr>
              <a:spcAft>
                <a:spcPts val="1800"/>
              </a:spcAft>
              <a:defRPr/>
            </a:lvl1pPr>
            <a:lvl2pPr>
              <a:defRPr/>
            </a:lvl2pPr>
          </a:lstStyle>
          <a:p>
            <a:pPr lvl="0"/>
            <a:r>
              <a:rPr lang="fr-FR" err="1"/>
              <a:t>Sub-title</a:t>
            </a:r>
            <a:endParaRPr lang="fr-FR"/>
          </a:p>
          <a:p>
            <a:pPr lvl="1"/>
            <a:r>
              <a:rPr lang="fr-FR" err="1"/>
              <a:t>Text</a:t>
            </a:r>
            <a:endParaRPr lang="fr-FR"/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477B7B38-0E39-25D6-23B7-8D808E72DCC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139" y="468000"/>
            <a:ext cx="4698436" cy="307777"/>
          </a:xfrm>
        </p:spPr>
        <p:txBody>
          <a:bodyPr/>
          <a:lstStyle>
            <a:lvl1pPr>
              <a:spcAft>
                <a:spcPts val="0"/>
              </a:spcAft>
              <a:defRPr sz="2000" cap="all" baseline="0">
                <a:solidFill>
                  <a:schemeClr val="accent1"/>
                </a:solidFill>
                <a:latin typeface="BNPP Sans Condensed" panose="02000000000000000000" pitchFamily="2" charset="0"/>
              </a:defRPr>
            </a:lvl1pPr>
            <a:lvl2pPr>
              <a:defRPr/>
            </a:lvl2pPr>
          </a:lstStyle>
          <a:p>
            <a:pPr lvl="0"/>
            <a:r>
              <a:rPr lang="fr-FR" err="1"/>
              <a:t>Chapter</a:t>
            </a:r>
            <a:r>
              <a:rPr lang="fr-FR"/>
              <a:t> </a:t>
            </a:r>
            <a:r>
              <a:rPr lang="fr-FR" err="1"/>
              <a:t>title</a:t>
            </a:r>
            <a:r>
              <a:rPr lang="fr-FR"/>
              <a:t> on one line</a:t>
            </a:r>
          </a:p>
        </p:txBody>
      </p:sp>
      <p:sp>
        <p:nvSpPr>
          <p:cNvPr id="16" name="Espace réservé pour une image  7">
            <a:extLst>
              <a:ext uri="{FF2B5EF4-FFF2-40B4-BE49-F238E27FC236}">
                <a16:creationId xmlns:a16="http://schemas.microsoft.com/office/drawing/2014/main" id="{2B5E8E3F-920A-ADAA-F0BB-998B6C15D74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057671" y="1287792"/>
            <a:ext cx="3848659" cy="4080387"/>
          </a:xfrm>
          <a:solidFill>
            <a:schemeClr val="bg1">
              <a:lumMod val="95000"/>
            </a:schemeClr>
          </a:solidFill>
        </p:spPr>
        <p:txBody>
          <a:bodyPr anchor="ctr" anchorCtr="0">
            <a:no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8035708"/>
      </p:ext>
    </p:extLst>
  </p:cSld>
  <p:clrMapOvr>
    <a:masterClrMapping/>
  </p:clrMapOvr>
  <p:transition spd="slow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necteur droit 8"/>
          <p:cNvCxnSpPr/>
          <p:nvPr userDrawn="1"/>
        </p:nvCxnSpPr>
        <p:spPr>
          <a:xfrm>
            <a:off x="456772" y="879000"/>
            <a:ext cx="11280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0" y="866927"/>
            <a:ext cx="12192000" cy="524719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166" tIns="60580" rIns="121166" bIns="60580" rtlCol="0" anchor="ctr"/>
          <a:lstStyle/>
          <a:p>
            <a:pPr algn="ctr" defTabSz="1211636"/>
            <a:endParaRPr lang="pt-PT" sz="1800">
              <a:solidFill>
                <a:srgbClr val="FFFFFF"/>
              </a:solidFill>
            </a:endParaRPr>
          </a:p>
        </p:txBody>
      </p:sp>
      <p:sp>
        <p:nvSpPr>
          <p:cNvPr id="12" name="Titre 9"/>
          <p:cNvSpPr>
            <a:spLocks noGrp="1"/>
          </p:cNvSpPr>
          <p:nvPr>
            <p:ph type="title" hasCustomPrompt="1"/>
          </p:nvPr>
        </p:nvSpPr>
        <p:spPr>
          <a:xfrm>
            <a:off x="456772" y="99026"/>
            <a:ext cx="11280000" cy="745664"/>
          </a:xfrm>
        </p:spPr>
        <p:txBody>
          <a:bodyPr>
            <a:normAutofit/>
          </a:bodyPr>
          <a:lstStyle>
            <a:lvl1pPr>
              <a:defRPr sz="2899" baseline="0"/>
            </a:lvl1pPr>
          </a:lstStyle>
          <a:p>
            <a:r>
              <a:rPr lang="en-GB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8750634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7158" b="1" i="0">
                <a:solidFill>
                  <a:schemeClr val="bg1"/>
                </a:solidFill>
                <a:latin typeface="BNPP Sans Condensed"/>
                <a:cs typeface="BNPP Sans Condense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2584" b="1" i="0">
                <a:solidFill>
                  <a:schemeClr val="tx1"/>
                </a:solidFill>
                <a:latin typeface="BNPP Sans Condensed"/>
                <a:cs typeface="BNPP Sans Condensed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9377595" y="6430690"/>
            <a:ext cx="2607026" cy="215444"/>
          </a:xfrm>
          <a:prstGeom prst="rect">
            <a:avLst/>
          </a:prstGeom>
        </p:spPr>
        <p:txBody>
          <a:bodyPr lIns="0" tIns="0" rIns="0" bIns="0"/>
          <a:lstStyle>
            <a:lvl1pPr>
              <a:defRPr sz="1591" b="0" i="0">
                <a:solidFill>
                  <a:schemeClr val="tx1"/>
                </a:solidFill>
                <a:latin typeface="BNPP Sans"/>
                <a:cs typeface="BNPP Sans"/>
              </a:defRPr>
            </a:lvl1pPr>
          </a:lstStyle>
          <a:p>
            <a:pPr marL="12625">
              <a:lnSpc>
                <a:spcPts val="1621"/>
              </a:lnSpc>
            </a:pPr>
            <a:r>
              <a:rPr lang="en-US" spc="-10"/>
              <a:t>Fundamentals workshop Agile@Arval</a:t>
            </a:r>
            <a:endParaRPr lang="en-US" spc="5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7 October 2022</a:t>
            </a: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82823" y="6377941"/>
            <a:ext cx="2805623" cy="27699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801042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-21367" y="608224"/>
            <a:ext cx="696226" cy="0"/>
          </a:xfrm>
          <a:prstGeom prst="line">
            <a:avLst/>
          </a:prstGeom>
          <a:ln>
            <a:solidFill>
              <a:srgbClr val="0091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83250" y="163319"/>
            <a:ext cx="7104000" cy="43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2400" b="1" cap="all" spc="300" baseline="0">
                <a:solidFill>
                  <a:schemeClr val="tx2"/>
                </a:solidFill>
                <a:latin typeface="BNPP Sans Condensed" panose="02000000000000000000" pitchFamily="2" charset="0"/>
              </a:defRPr>
            </a:lvl1pPr>
            <a:lvl2pPr marL="607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4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1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29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36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4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50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58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29179771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14"/>
          <p:cNvCxnSpPr/>
          <p:nvPr userDrawn="1"/>
        </p:nvCxnSpPr>
        <p:spPr>
          <a:xfrm>
            <a:off x="456772" y="6102440"/>
            <a:ext cx="1128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>
          <a:xfrm>
            <a:off x="-21367" y="608224"/>
            <a:ext cx="696226" cy="0"/>
          </a:xfrm>
          <a:prstGeom prst="line">
            <a:avLst/>
          </a:prstGeom>
          <a:ln>
            <a:solidFill>
              <a:srgbClr val="0091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83250" y="163319"/>
            <a:ext cx="7104000" cy="43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2400" b="1" cap="all" spc="300" baseline="0">
                <a:solidFill>
                  <a:schemeClr val="tx2"/>
                </a:solidFill>
                <a:latin typeface="BNPP Sans Condensed" panose="02000000000000000000" pitchFamily="2" charset="0"/>
              </a:defRPr>
            </a:lvl1pPr>
            <a:lvl2pPr marL="607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4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1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29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36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4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50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58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INSERT TITLE</a:t>
            </a:r>
          </a:p>
        </p:txBody>
      </p:sp>
      <p:pic>
        <p:nvPicPr>
          <p:cNvPr id="12" name="Image 11" descr="PPT_43-06.png">
            <a:extLst>
              <a:ext uri="{FF2B5EF4-FFF2-40B4-BE49-F238E27FC236}">
                <a16:creationId xmlns:a16="http://schemas.microsoft.com/office/drawing/2014/main" id="{3685EB29-D7A6-694B-8856-D08B7EC220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3158" y="6261249"/>
            <a:ext cx="1875651" cy="433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97906" y="6401600"/>
            <a:ext cx="2396188" cy="224671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311725122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-21367" y="608224"/>
            <a:ext cx="696226" cy="0"/>
          </a:xfrm>
          <a:prstGeom prst="line">
            <a:avLst/>
          </a:prstGeom>
          <a:ln>
            <a:solidFill>
              <a:srgbClr val="0091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83250" y="163319"/>
            <a:ext cx="7104000" cy="43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2400" b="1" cap="all" spc="300" baseline="0">
                <a:solidFill>
                  <a:schemeClr val="tx2"/>
                </a:solidFill>
                <a:latin typeface="BNPP Sans Condensed" panose="02000000000000000000" pitchFamily="2" charset="0"/>
              </a:defRPr>
            </a:lvl1pPr>
            <a:lvl2pPr marL="607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4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1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29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36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4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50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58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INSERT TITLE</a:t>
            </a:r>
          </a:p>
        </p:txBody>
      </p:sp>
      <p:pic>
        <p:nvPicPr>
          <p:cNvPr id="12" name="Image 11" descr="PPT_43-06.png">
            <a:extLst>
              <a:ext uri="{FF2B5EF4-FFF2-40B4-BE49-F238E27FC236}">
                <a16:creationId xmlns:a16="http://schemas.microsoft.com/office/drawing/2014/main" id="{3685EB29-D7A6-694B-8856-D08B7EC220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3158" y="6261249"/>
            <a:ext cx="1875651" cy="433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Connecteur droit 14"/>
          <p:cNvCxnSpPr/>
          <p:nvPr userDrawn="1"/>
        </p:nvCxnSpPr>
        <p:spPr>
          <a:xfrm>
            <a:off x="456772" y="6102440"/>
            <a:ext cx="1128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7906" y="6401600"/>
            <a:ext cx="2396188" cy="224671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63923414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-21367" y="608224"/>
            <a:ext cx="696226" cy="0"/>
          </a:xfrm>
          <a:prstGeom prst="line">
            <a:avLst/>
          </a:prstGeom>
          <a:ln>
            <a:solidFill>
              <a:srgbClr val="0091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83250" y="163319"/>
            <a:ext cx="7104000" cy="43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2400" b="1" cap="all" spc="300" baseline="0">
                <a:solidFill>
                  <a:schemeClr val="tx2"/>
                </a:solidFill>
                <a:latin typeface="BNPP Sans Condensed" panose="02000000000000000000" pitchFamily="2" charset="0"/>
              </a:defRPr>
            </a:lvl1pPr>
            <a:lvl2pPr marL="607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4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1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29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36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4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50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58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126771501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C:\Users\ChristineB\Seenk-D\BNPP\2015-05\fond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985" y="2"/>
            <a:ext cx="12192001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5082369"/>
            <a:ext cx="12196984" cy="1775632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450" tIns="119537" rIns="121450" bIns="1195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4537"/>
            <a:endParaRPr lang="fr-FR" sz="1900">
              <a:solidFill>
                <a:srgbClr val="000000"/>
              </a:solidFill>
              <a:latin typeface="BNPP Sans Light" panose="02000503020000020004" pitchFamily="50" charset="0"/>
            </a:endParaRPr>
          </a:p>
        </p:txBody>
      </p:sp>
      <p:sp>
        <p:nvSpPr>
          <p:cNvPr id="15" name="Titre 1"/>
          <p:cNvSpPr>
            <a:spLocks noGrp="1"/>
          </p:cNvSpPr>
          <p:nvPr>
            <p:ph type="ctrTitle" hasCustomPrompt="1"/>
          </p:nvPr>
        </p:nvSpPr>
        <p:spPr>
          <a:xfrm>
            <a:off x="520271" y="478827"/>
            <a:ext cx="7104790" cy="1334676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4799" b="1" cap="all" baseline="0">
                <a:solidFill>
                  <a:schemeClr val="tx1"/>
                </a:solidFill>
                <a:latin typeface="BNPP Sans Light" panose="02000503020000020004" pitchFamily="50" charset="0"/>
              </a:defRPr>
            </a:lvl1pPr>
          </a:lstStyle>
          <a:p>
            <a:r>
              <a:rPr lang="en-GB" noProof="0"/>
              <a:t>presentation title </a:t>
            </a:r>
            <a:br>
              <a:rPr lang="en-GB" noProof="0"/>
            </a:br>
            <a:r>
              <a:rPr lang="en-GB" noProof="0"/>
              <a:t>on multi-lines</a:t>
            </a:r>
          </a:p>
        </p:txBody>
      </p:sp>
      <p:sp>
        <p:nvSpPr>
          <p:cNvPr id="16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520271" y="1800377"/>
            <a:ext cx="7104000" cy="432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3299" cap="all" baseline="0">
                <a:solidFill>
                  <a:schemeClr val="tx1"/>
                </a:solidFill>
                <a:latin typeface="BNPP Sans Light" panose="02000503020000020004" pitchFamily="50" charset="0"/>
              </a:defRPr>
            </a:lvl1pPr>
            <a:lvl2pPr marL="607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4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1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29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36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4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50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58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EE377D3-1526-EA40-B0BA-4F8D0EA15FEE}"/>
              </a:ext>
            </a:extLst>
          </p:cNvPr>
          <p:cNvSpPr/>
          <p:nvPr/>
        </p:nvSpPr>
        <p:spPr>
          <a:xfrm>
            <a:off x="1403984" y="4782294"/>
            <a:ext cx="4656000" cy="603328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450" tIns="119537" rIns="121450" bIns="1195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4537"/>
            <a:endParaRPr lang="fr-FR" sz="1300">
              <a:solidFill>
                <a:srgbClr val="43B02A"/>
              </a:solidFill>
              <a:latin typeface="BNPP Sans Light" panose="02000503020000020004" pitchFamily="50" charset="0"/>
            </a:endParaRPr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1A0513CA-23BF-D94B-8F5C-737DAAA8AE5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581472" y="4871760"/>
            <a:ext cx="4224000" cy="21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900" b="0" cap="all" baseline="0">
                <a:solidFill>
                  <a:schemeClr val="bg1"/>
                </a:solidFill>
                <a:latin typeface="BNPP Sans Light" panose="02000503020000020004" pitchFamily="50" charset="0"/>
              </a:defRPr>
            </a:lvl1pPr>
            <a:lvl2pPr marL="607269" indent="0">
              <a:buNone/>
              <a:defRPr sz="2699" b="1"/>
            </a:lvl2pPr>
            <a:lvl3pPr marL="1214537" indent="0">
              <a:buNone/>
              <a:defRPr sz="2400" b="1"/>
            </a:lvl3pPr>
            <a:lvl4pPr marL="1821807" indent="0">
              <a:buNone/>
              <a:defRPr sz="2100" b="1"/>
            </a:lvl4pPr>
            <a:lvl5pPr marL="2429075" indent="0">
              <a:buNone/>
              <a:defRPr sz="2100" b="1"/>
            </a:lvl5pPr>
            <a:lvl6pPr marL="3036344" indent="0">
              <a:buNone/>
              <a:defRPr sz="2100" b="1"/>
            </a:lvl6pPr>
            <a:lvl7pPr marL="3643612" indent="0">
              <a:buNone/>
              <a:defRPr sz="2100" b="1"/>
            </a:lvl7pPr>
            <a:lvl8pPr marL="4250881" indent="0">
              <a:buNone/>
              <a:defRPr sz="2100" b="1"/>
            </a:lvl8pPr>
            <a:lvl9pPr marL="4858150" indent="0">
              <a:buNone/>
              <a:defRPr sz="2100" b="1"/>
            </a:lvl9pPr>
          </a:lstStyle>
          <a:p>
            <a:r>
              <a:rPr lang="en-GB" noProof="0"/>
              <a:t>author’s name</a:t>
            </a:r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04093FB8-107F-5341-A7E7-91BBDF05132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1581472" y="5095280"/>
            <a:ext cx="4224000" cy="21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900" b="0">
                <a:solidFill>
                  <a:schemeClr val="bg1"/>
                </a:solidFill>
                <a:latin typeface="BNPP Sans Light" panose="02000503020000020004" pitchFamily="50" charset="0"/>
              </a:defRPr>
            </a:lvl1pPr>
            <a:lvl2pPr marL="607269" indent="0">
              <a:buNone/>
              <a:defRPr sz="2699" b="1"/>
            </a:lvl2pPr>
            <a:lvl3pPr marL="1214537" indent="0">
              <a:buNone/>
              <a:defRPr sz="2400" b="1"/>
            </a:lvl3pPr>
            <a:lvl4pPr marL="1821807" indent="0">
              <a:buNone/>
              <a:defRPr sz="2100" b="1"/>
            </a:lvl4pPr>
            <a:lvl5pPr marL="2429075" indent="0">
              <a:buNone/>
              <a:defRPr sz="2100" b="1"/>
            </a:lvl5pPr>
            <a:lvl6pPr marL="3036344" indent="0">
              <a:buNone/>
              <a:defRPr sz="2100" b="1"/>
            </a:lvl6pPr>
            <a:lvl7pPr marL="3643612" indent="0">
              <a:buNone/>
              <a:defRPr sz="2100" b="1"/>
            </a:lvl7pPr>
            <a:lvl8pPr marL="4250881" indent="0">
              <a:buNone/>
              <a:defRPr sz="2100" b="1"/>
            </a:lvl8pPr>
            <a:lvl9pPr marL="4858150" indent="0">
              <a:buNone/>
              <a:defRPr sz="2100" b="1"/>
            </a:lvl9pPr>
          </a:lstStyle>
          <a:p>
            <a:r>
              <a:rPr lang="en-GB" noProof="0"/>
              <a:t>Location, 00/00/2015</a:t>
            </a: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84624AD8-89E7-274D-9E08-A52A476BD9E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6712" y="5457186"/>
            <a:ext cx="3808730" cy="1177363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30803" y="5948697"/>
            <a:ext cx="3163479" cy="296614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32960490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AND ONE 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955" y="5082369"/>
            <a:ext cx="12191045" cy="1775632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429" tIns="119517" rIns="121429" bIns="1195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4329"/>
            <a:endParaRPr lang="fr-FR" sz="1900" noProof="0">
              <a:solidFill>
                <a:srgbClr val="000000"/>
              </a:solidFill>
              <a:latin typeface="BNPP Sans Light" panose="02000503020000020004" pitchFamily="50" charset="0"/>
            </a:endParaRPr>
          </a:p>
        </p:txBody>
      </p:sp>
      <p:grpSp>
        <p:nvGrpSpPr>
          <p:cNvPr id="37" name="Groupe 36">
            <a:extLst>
              <a:ext uri="{FF2B5EF4-FFF2-40B4-BE49-F238E27FC236}">
                <a16:creationId xmlns:a16="http://schemas.microsoft.com/office/drawing/2014/main" id="{F59B009B-FE4C-B441-96D1-0EC131CA52AA}"/>
              </a:ext>
            </a:extLst>
          </p:cNvPr>
          <p:cNvGrpSpPr/>
          <p:nvPr/>
        </p:nvGrpSpPr>
        <p:grpSpPr>
          <a:xfrm>
            <a:off x="409817" y="5669999"/>
            <a:ext cx="3416810" cy="784307"/>
            <a:chOff x="527050" y="9259554"/>
            <a:chExt cx="5824557" cy="1345006"/>
          </a:xfrm>
        </p:grpSpPr>
        <p:sp>
          <p:nvSpPr>
            <p:cNvPr id="38" name="object 36">
              <a:extLst>
                <a:ext uri="{FF2B5EF4-FFF2-40B4-BE49-F238E27FC236}">
                  <a16:creationId xmlns:a16="http://schemas.microsoft.com/office/drawing/2014/main" id="{B148BA60-EFEE-5C4F-BE92-482E8257290F}"/>
                </a:ext>
              </a:extLst>
            </p:cNvPr>
            <p:cNvSpPr/>
            <p:nvPr/>
          </p:nvSpPr>
          <p:spPr>
            <a:xfrm>
              <a:off x="527050" y="9259554"/>
              <a:ext cx="1344995" cy="1345006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>
                <a:latin typeface="BNPP Sans Light" panose="02000503020000020004" pitchFamily="50" charset="0"/>
              </a:endParaRPr>
            </a:p>
          </p:txBody>
        </p:sp>
        <p:sp>
          <p:nvSpPr>
            <p:cNvPr id="39" name="object 37">
              <a:extLst>
                <a:ext uri="{FF2B5EF4-FFF2-40B4-BE49-F238E27FC236}">
                  <a16:creationId xmlns:a16="http://schemas.microsoft.com/office/drawing/2014/main" id="{77764551-03EC-C24F-8C39-5ECC917DA1E3}"/>
                </a:ext>
              </a:extLst>
            </p:cNvPr>
            <p:cNvSpPr/>
            <p:nvPr/>
          </p:nvSpPr>
          <p:spPr>
            <a:xfrm>
              <a:off x="656826" y="10038923"/>
              <a:ext cx="311173" cy="374815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>
                <a:latin typeface="BNPP Sans Light" panose="02000503020000020004" pitchFamily="50" charset="0"/>
              </a:endParaRPr>
            </a:p>
          </p:txBody>
        </p:sp>
        <p:sp>
          <p:nvSpPr>
            <p:cNvPr id="40" name="object 38">
              <a:extLst>
                <a:ext uri="{FF2B5EF4-FFF2-40B4-BE49-F238E27FC236}">
                  <a16:creationId xmlns:a16="http://schemas.microsoft.com/office/drawing/2014/main" id="{87D2EB5F-CBAD-6B40-80CF-ABDEC5BBC197}"/>
                </a:ext>
              </a:extLst>
            </p:cNvPr>
            <p:cNvSpPr/>
            <p:nvPr/>
          </p:nvSpPr>
          <p:spPr>
            <a:xfrm>
              <a:off x="746918" y="9408785"/>
              <a:ext cx="973677" cy="591385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>
                <a:latin typeface="BNPP Sans Light" panose="02000503020000020004" pitchFamily="50" charset="0"/>
              </a:endParaRPr>
            </a:p>
          </p:txBody>
        </p:sp>
        <p:sp>
          <p:nvSpPr>
            <p:cNvPr id="41" name="object 39">
              <a:extLst>
                <a:ext uri="{FF2B5EF4-FFF2-40B4-BE49-F238E27FC236}">
                  <a16:creationId xmlns:a16="http://schemas.microsoft.com/office/drawing/2014/main" id="{F1A071DD-FF41-EA42-96F7-CE6003CEE618}"/>
                </a:ext>
              </a:extLst>
            </p:cNvPr>
            <p:cNvSpPr/>
            <p:nvPr/>
          </p:nvSpPr>
          <p:spPr>
            <a:xfrm>
              <a:off x="1039139" y="10249178"/>
              <a:ext cx="290682" cy="192590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>
                <a:latin typeface="BNPP Sans Light" panose="02000503020000020004" pitchFamily="50" charset="0"/>
              </a:endParaRPr>
            </a:p>
          </p:txBody>
        </p:sp>
        <p:sp>
          <p:nvSpPr>
            <p:cNvPr id="42" name="object 40">
              <a:extLst>
                <a:ext uri="{FF2B5EF4-FFF2-40B4-BE49-F238E27FC236}">
                  <a16:creationId xmlns:a16="http://schemas.microsoft.com/office/drawing/2014/main" id="{8B4B82F2-1356-D44B-BBB8-1BCD10ECC73A}"/>
                </a:ext>
              </a:extLst>
            </p:cNvPr>
            <p:cNvSpPr/>
            <p:nvPr/>
          </p:nvSpPr>
          <p:spPr>
            <a:xfrm>
              <a:off x="660988" y="9408787"/>
              <a:ext cx="1064895" cy="1024255"/>
            </a:xfrm>
            <a:custGeom>
              <a:avLst/>
              <a:gdLst/>
              <a:ahLst/>
              <a:cxnLst/>
              <a:rect l="l" t="t" r="r" b="b"/>
              <a:pathLst>
                <a:path w="1064895" h="1024254">
                  <a:moveTo>
                    <a:pt x="306997" y="931722"/>
                  </a:moveTo>
                  <a:lnTo>
                    <a:pt x="273469" y="917727"/>
                  </a:lnTo>
                  <a:lnTo>
                    <a:pt x="243357" y="901534"/>
                  </a:lnTo>
                  <a:lnTo>
                    <a:pt x="215099" y="882040"/>
                  </a:lnTo>
                  <a:lnTo>
                    <a:pt x="187134" y="858126"/>
                  </a:lnTo>
                  <a:lnTo>
                    <a:pt x="196024" y="835736"/>
                  </a:lnTo>
                  <a:lnTo>
                    <a:pt x="206133" y="814628"/>
                  </a:lnTo>
                  <a:lnTo>
                    <a:pt x="218059" y="793521"/>
                  </a:lnTo>
                  <a:lnTo>
                    <a:pt x="232448" y="771118"/>
                  </a:lnTo>
                  <a:lnTo>
                    <a:pt x="180060" y="779157"/>
                  </a:lnTo>
                  <a:lnTo>
                    <a:pt x="156070" y="783170"/>
                  </a:lnTo>
                  <a:lnTo>
                    <a:pt x="131673" y="787603"/>
                  </a:lnTo>
                  <a:lnTo>
                    <a:pt x="113817" y="751916"/>
                  </a:lnTo>
                  <a:lnTo>
                    <a:pt x="99987" y="715010"/>
                  </a:lnTo>
                  <a:lnTo>
                    <a:pt x="88658" y="675030"/>
                  </a:lnTo>
                  <a:lnTo>
                    <a:pt x="78295" y="630135"/>
                  </a:lnTo>
                  <a:lnTo>
                    <a:pt x="73723" y="677710"/>
                  </a:lnTo>
                  <a:lnTo>
                    <a:pt x="71602" y="720369"/>
                  </a:lnTo>
                  <a:lnTo>
                    <a:pt x="72656" y="760425"/>
                  </a:lnTo>
                  <a:lnTo>
                    <a:pt x="77647" y="800201"/>
                  </a:lnTo>
                  <a:lnTo>
                    <a:pt x="56121" y="806475"/>
                  </a:lnTo>
                  <a:lnTo>
                    <a:pt x="36779" y="812825"/>
                  </a:lnTo>
                  <a:lnTo>
                    <a:pt x="18465" y="819683"/>
                  </a:lnTo>
                  <a:lnTo>
                    <a:pt x="0" y="827544"/>
                  </a:lnTo>
                  <a:lnTo>
                    <a:pt x="25539" y="842949"/>
                  </a:lnTo>
                  <a:lnTo>
                    <a:pt x="50177" y="857123"/>
                  </a:lnTo>
                  <a:lnTo>
                    <a:pt x="75577" y="870673"/>
                  </a:lnTo>
                  <a:lnTo>
                    <a:pt x="103416" y="884250"/>
                  </a:lnTo>
                  <a:lnTo>
                    <a:pt x="119672" y="915924"/>
                  </a:lnTo>
                  <a:lnTo>
                    <a:pt x="137401" y="943838"/>
                  </a:lnTo>
                  <a:lnTo>
                    <a:pt x="157822" y="969797"/>
                  </a:lnTo>
                  <a:lnTo>
                    <a:pt x="182156" y="995578"/>
                  </a:lnTo>
                  <a:lnTo>
                    <a:pt x="177050" y="974115"/>
                  </a:lnTo>
                  <a:lnTo>
                    <a:pt x="174193" y="953655"/>
                  </a:lnTo>
                  <a:lnTo>
                    <a:pt x="173532" y="932916"/>
                  </a:lnTo>
                  <a:lnTo>
                    <a:pt x="175031" y="910602"/>
                  </a:lnTo>
                  <a:lnTo>
                    <a:pt x="207213" y="919124"/>
                  </a:lnTo>
                  <a:lnTo>
                    <a:pt x="238772" y="925423"/>
                  </a:lnTo>
                  <a:lnTo>
                    <a:pt x="271449" y="929589"/>
                  </a:lnTo>
                  <a:lnTo>
                    <a:pt x="306997" y="931722"/>
                  </a:lnTo>
                  <a:close/>
                </a:path>
                <a:path w="1064895" h="1024254">
                  <a:moveTo>
                    <a:pt x="615988" y="409270"/>
                  </a:moveTo>
                  <a:lnTo>
                    <a:pt x="598665" y="399148"/>
                  </a:lnTo>
                  <a:lnTo>
                    <a:pt x="551307" y="375627"/>
                  </a:lnTo>
                  <a:lnTo>
                    <a:pt x="480910" y="348996"/>
                  </a:lnTo>
                  <a:lnTo>
                    <a:pt x="394436" y="329514"/>
                  </a:lnTo>
                  <a:lnTo>
                    <a:pt x="400062" y="313918"/>
                  </a:lnTo>
                  <a:lnTo>
                    <a:pt x="408990" y="294474"/>
                  </a:lnTo>
                  <a:lnTo>
                    <a:pt x="419823" y="274561"/>
                  </a:lnTo>
                  <a:lnTo>
                    <a:pt x="431177" y="257530"/>
                  </a:lnTo>
                  <a:lnTo>
                    <a:pt x="407885" y="264287"/>
                  </a:lnTo>
                  <a:lnTo>
                    <a:pt x="374865" y="278472"/>
                  </a:lnTo>
                  <a:lnTo>
                    <a:pt x="338099" y="298259"/>
                  </a:lnTo>
                  <a:lnTo>
                    <a:pt x="303542" y="321818"/>
                  </a:lnTo>
                  <a:lnTo>
                    <a:pt x="283425" y="320662"/>
                  </a:lnTo>
                  <a:lnTo>
                    <a:pt x="259664" y="320154"/>
                  </a:lnTo>
                  <a:lnTo>
                    <a:pt x="228015" y="320522"/>
                  </a:lnTo>
                  <a:lnTo>
                    <a:pt x="190906" y="323684"/>
                  </a:lnTo>
                  <a:lnTo>
                    <a:pt x="153314" y="329298"/>
                  </a:lnTo>
                  <a:lnTo>
                    <a:pt x="120065" y="336334"/>
                  </a:lnTo>
                  <a:lnTo>
                    <a:pt x="95986" y="343763"/>
                  </a:lnTo>
                  <a:lnTo>
                    <a:pt x="132740" y="347218"/>
                  </a:lnTo>
                  <a:lnTo>
                    <a:pt x="170586" y="354634"/>
                  </a:lnTo>
                  <a:lnTo>
                    <a:pt x="204317" y="366229"/>
                  </a:lnTo>
                  <a:lnTo>
                    <a:pt x="228701" y="382181"/>
                  </a:lnTo>
                  <a:lnTo>
                    <a:pt x="216750" y="394093"/>
                  </a:lnTo>
                  <a:lnTo>
                    <a:pt x="185305" y="430606"/>
                  </a:lnTo>
                  <a:lnTo>
                    <a:pt x="141020" y="492874"/>
                  </a:lnTo>
                  <a:lnTo>
                    <a:pt x="90500" y="582041"/>
                  </a:lnTo>
                  <a:lnTo>
                    <a:pt x="110845" y="563257"/>
                  </a:lnTo>
                  <a:lnTo>
                    <a:pt x="159664" y="519760"/>
                  </a:lnTo>
                  <a:lnTo>
                    <a:pt x="218655" y="470814"/>
                  </a:lnTo>
                  <a:lnTo>
                    <a:pt x="269506" y="435737"/>
                  </a:lnTo>
                  <a:lnTo>
                    <a:pt x="274218" y="451218"/>
                  </a:lnTo>
                  <a:lnTo>
                    <a:pt x="286080" y="488823"/>
                  </a:lnTo>
                  <a:lnTo>
                    <a:pt x="301586" y="535279"/>
                  </a:lnTo>
                  <a:lnTo>
                    <a:pt x="317296" y="577303"/>
                  </a:lnTo>
                  <a:lnTo>
                    <a:pt x="320471" y="559257"/>
                  </a:lnTo>
                  <a:lnTo>
                    <a:pt x="329628" y="514807"/>
                  </a:lnTo>
                  <a:lnTo>
                    <a:pt x="344220" y="458431"/>
                  </a:lnTo>
                  <a:lnTo>
                    <a:pt x="363689" y="404647"/>
                  </a:lnTo>
                  <a:lnTo>
                    <a:pt x="411759" y="396201"/>
                  </a:lnTo>
                  <a:lnTo>
                    <a:pt x="445465" y="394055"/>
                  </a:lnTo>
                  <a:lnTo>
                    <a:pt x="488594" y="394258"/>
                  </a:lnTo>
                  <a:lnTo>
                    <a:pt x="544372" y="398703"/>
                  </a:lnTo>
                  <a:lnTo>
                    <a:pt x="615988" y="409270"/>
                  </a:lnTo>
                  <a:close/>
                </a:path>
                <a:path w="1064895" h="1024254">
                  <a:moveTo>
                    <a:pt x="668820" y="840409"/>
                  </a:moveTo>
                  <a:lnTo>
                    <a:pt x="643737" y="857326"/>
                  </a:lnTo>
                  <a:lnTo>
                    <a:pt x="619036" y="872617"/>
                  </a:lnTo>
                  <a:lnTo>
                    <a:pt x="593331" y="886955"/>
                  </a:lnTo>
                  <a:lnTo>
                    <a:pt x="565213" y="900963"/>
                  </a:lnTo>
                  <a:lnTo>
                    <a:pt x="563105" y="874636"/>
                  </a:lnTo>
                  <a:lnTo>
                    <a:pt x="561594" y="846582"/>
                  </a:lnTo>
                  <a:lnTo>
                    <a:pt x="545769" y="867625"/>
                  </a:lnTo>
                  <a:lnTo>
                    <a:pt x="514324" y="906386"/>
                  </a:lnTo>
                  <a:lnTo>
                    <a:pt x="467461" y="933411"/>
                  </a:lnTo>
                  <a:lnTo>
                    <a:pt x="411568" y="941120"/>
                  </a:lnTo>
                  <a:lnTo>
                    <a:pt x="382447" y="941984"/>
                  </a:lnTo>
                  <a:lnTo>
                    <a:pt x="400913" y="950620"/>
                  </a:lnTo>
                  <a:lnTo>
                    <a:pt x="419341" y="957618"/>
                  </a:lnTo>
                  <a:lnTo>
                    <a:pt x="437959" y="963256"/>
                  </a:lnTo>
                  <a:lnTo>
                    <a:pt x="457034" y="967778"/>
                  </a:lnTo>
                  <a:lnTo>
                    <a:pt x="438289" y="984161"/>
                  </a:lnTo>
                  <a:lnTo>
                    <a:pt x="420370" y="998575"/>
                  </a:lnTo>
                  <a:lnTo>
                    <a:pt x="402590" y="1011580"/>
                  </a:lnTo>
                  <a:lnTo>
                    <a:pt x="384276" y="1023772"/>
                  </a:lnTo>
                  <a:lnTo>
                    <a:pt x="417855" y="1014844"/>
                  </a:lnTo>
                  <a:lnTo>
                    <a:pt x="453834" y="1003084"/>
                  </a:lnTo>
                  <a:lnTo>
                    <a:pt x="489635" y="988644"/>
                  </a:lnTo>
                  <a:lnTo>
                    <a:pt x="522719" y="971638"/>
                  </a:lnTo>
                  <a:lnTo>
                    <a:pt x="538518" y="971854"/>
                  </a:lnTo>
                  <a:lnTo>
                    <a:pt x="553427" y="971308"/>
                  </a:lnTo>
                  <a:lnTo>
                    <a:pt x="567055" y="970051"/>
                  </a:lnTo>
                  <a:lnTo>
                    <a:pt x="579056" y="968171"/>
                  </a:lnTo>
                  <a:lnTo>
                    <a:pt x="576414" y="959256"/>
                  </a:lnTo>
                  <a:lnTo>
                    <a:pt x="574116" y="950595"/>
                  </a:lnTo>
                  <a:lnTo>
                    <a:pt x="571957" y="941222"/>
                  </a:lnTo>
                  <a:lnTo>
                    <a:pt x="569722" y="930186"/>
                  </a:lnTo>
                  <a:lnTo>
                    <a:pt x="597027" y="908100"/>
                  </a:lnTo>
                  <a:lnTo>
                    <a:pt x="621715" y="886282"/>
                  </a:lnTo>
                  <a:lnTo>
                    <a:pt x="645198" y="863981"/>
                  </a:lnTo>
                  <a:lnTo>
                    <a:pt x="668820" y="840409"/>
                  </a:lnTo>
                  <a:close/>
                </a:path>
                <a:path w="1064895" h="1024254">
                  <a:moveTo>
                    <a:pt x="1064450" y="81673"/>
                  </a:moveTo>
                  <a:lnTo>
                    <a:pt x="1002499" y="86893"/>
                  </a:lnTo>
                  <a:lnTo>
                    <a:pt x="979131" y="90068"/>
                  </a:lnTo>
                  <a:lnTo>
                    <a:pt x="958151" y="95135"/>
                  </a:lnTo>
                  <a:lnTo>
                    <a:pt x="924267" y="77012"/>
                  </a:lnTo>
                  <a:lnTo>
                    <a:pt x="883107" y="59359"/>
                  </a:lnTo>
                  <a:lnTo>
                    <a:pt x="836409" y="42786"/>
                  </a:lnTo>
                  <a:lnTo>
                    <a:pt x="785939" y="27952"/>
                  </a:lnTo>
                  <a:lnTo>
                    <a:pt x="733425" y="15443"/>
                  </a:lnTo>
                  <a:lnTo>
                    <a:pt x="680605" y="5918"/>
                  </a:lnTo>
                  <a:lnTo>
                    <a:pt x="629221" y="0"/>
                  </a:lnTo>
                  <a:lnTo>
                    <a:pt x="662635" y="16040"/>
                  </a:lnTo>
                  <a:lnTo>
                    <a:pt x="711123" y="41846"/>
                  </a:lnTo>
                  <a:lnTo>
                    <a:pt x="763181" y="71678"/>
                  </a:lnTo>
                  <a:lnTo>
                    <a:pt x="807250" y="99822"/>
                  </a:lnTo>
                  <a:lnTo>
                    <a:pt x="831799" y="120548"/>
                  </a:lnTo>
                  <a:lnTo>
                    <a:pt x="787273" y="128511"/>
                  </a:lnTo>
                  <a:lnTo>
                    <a:pt x="735025" y="141071"/>
                  </a:lnTo>
                  <a:lnTo>
                    <a:pt x="679069" y="157175"/>
                  </a:lnTo>
                  <a:lnTo>
                    <a:pt x="623404" y="175729"/>
                  </a:lnTo>
                  <a:lnTo>
                    <a:pt x="572046" y="195681"/>
                  </a:lnTo>
                  <a:lnTo>
                    <a:pt x="528980" y="215950"/>
                  </a:lnTo>
                  <a:lnTo>
                    <a:pt x="574700" y="207124"/>
                  </a:lnTo>
                  <a:lnTo>
                    <a:pt x="624166" y="199732"/>
                  </a:lnTo>
                  <a:lnTo>
                    <a:pt x="675398" y="193649"/>
                  </a:lnTo>
                  <a:lnTo>
                    <a:pt x="726351" y="188810"/>
                  </a:lnTo>
                  <a:lnTo>
                    <a:pt x="775042" y="185089"/>
                  </a:lnTo>
                  <a:lnTo>
                    <a:pt x="819454" y="182410"/>
                  </a:lnTo>
                  <a:lnTo>
                    <a:pt x="796975" y="214680"/>
                  </a:lnTo>
                  <a:lnTo>
                    <a:pt x="775284" y="243433"/>
                  </a:lnTo>
                  <a:lnTo>
                    <a:pt x="749846" y="273939"/>
                  </a:lnTo>
                  <a:lnTo>
                    <a:pt x="716076" y="311442"/>
                  </a:lnTo>
                  <a:lnTo>
                    <a:pt x="773544" y="278803"/>
                  </a:lnTo>
                  <a:lnTo>
                    <a:pt x="818172" y="256019"/>
                  </a:lnTo>
                  <a:lnTo>
                    <a:pt x="861415" y="234213"/>
                  </a:lnTo>
                  <a:lnTo>
                    <a:pt x="914781" y="204508"/>
                  </a:lnTo>
                  <a:lnTo>
                    <a:pt x="931037" y="239026"/>
                  </a:lnTo>
                  <a:lnTo>
                    <a:pt x="942327" y="284111"/>
                  </a:lnTo>
                  <a:lnTo>
                    <a:pt x="949490" y="335775"/>
                  </a:lnTo>
                  <a:lnTo>
                    <a:pt x="953389" y="390042"/>
                  </a:lnTo>
                  <a:lnTo>
                    <a:pt x="954900" y="442937"/>
                  </a:lnTo>
                  <a:lnTo>
                    <a:pt x="968730" y="405130"/>
                  </a:lnTo>
                  <a:lnTo>
                    <a:pt x="982065" y="351243"/>
                  </a:lnTo>
                  <a:lnTo>
                    <a:pt x="993432" y="290004"/>
                  </a:lnTo>
                  <a:lnTo>
                    <a:pt x="1001395" y="230174"/>
                  </a:lnTo>
                  <a:lnTo>
                    <a:pt x="1004481" y="180479"/>
                  </a:lnTo>
                  <a:lnTo>
                    <a:pt x="1001255" y="149669"/>
                  </a:lnTo>
                  <a:lnTo>
                    <a:pt x="1030287" y="128270"/>
                  </a:lnTo>
                  <a:lnTo>
                    <a:pt x="1046657" y="111633"/>
                  </a:lnTo>
                  <a:lnTo>
                    <a:pt x="1056119" y="97028"/>
                  </a:lnTo>
                  <a:lnTo>
                    <a:pt x="1064450" y="8167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800">
                <a:latin typeface="BNPP Sans Light" panose="02000503020000020004" pitchFamily="50" charset="0"/>
              </a:endParaRPr>
            </a:p>
          </p:txBody>
        </p:sp>
        <p:sp>
          <p:nvSpPr>
            <p:cNvPr id="43" name="object 41">
              <a:extLst>
                <a:ext uri="{FF2B5EF4-FFF2-40B4-BE49-F238E27FC236}">
                  <a16:creationId xmlns:a16="http://schemas.microsoft.com/office/drawing/2014/main" id="{E61A765B-5A80-C048-8D55-F7AD128988CC}"/>
                </a:ext>
              </a:extLst>
            </p:cNvPr>
            <p:cNvSpPr/>
            <p:nvPr/>
          </p:nvSpPr>
          <p:spPr>
            <a:xfrm>
              <a:off x="2499023" y="10166919"/>
              <a:ext cx="224851" cy="241479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>
                <a:latin typeface="BNPP Sans Light" panose="02000503020000020004" pitchFamily="50" charset="0"/>
              </a:endParaRPr>
            </a:p>
          </p:txBody>
        </p:sp>
        <p:sp>
          <p:nvSpPr>
            <p:cNvPr id="44" name="object 42">
              <a:extLst>
                <a:ext uri="{FF2B5EF4-FFF2-40B4-BE49-F238E27FC236}">
                  <a16:creationId xmlns:a16="http://schemas.microsoft.com/office/drawing/2014/main" id="{9F6D1FAB-2AB5-9442-B7F8-C3D87D3DF48E}"/>
                </a:ext>
              </a:extLst>
            </p:cNvPr>
            <p:cNvSpPr/>
            <p:nvPr/>
          </p:nvSpPr>
          <p:spPr>
            <a:xfrm>
              <a:off x="2208306" y="10166934"/>
              <a:ext cx="249489" cy="241448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>
                <a:latin typeface="BNPP Sans Light" panose="02000503020000020004" pitchFamily="50" charset="0"/>
              </a:endParaRPr>
            </a:p>
          </p:txBody>
        </p:sp>
        <p:sp>
          <p:nvSpPr>
            <p:cNvPr id="45" name="object 43">
              <a:extLst>
                <a:ext uri="{FF2B5EF4-FFF2-40B4-BE49-F238E27FC236}">
                  <a16:creationId xmlns:a16="http://schemas.microsoft.com/office/drawing/2014/main" id="{DFA7F4B5-7A01-7A43-9BAB-777DCE75E289}"/>
                </a:ext>
              </a:extLst>
            </p:cNvPr>
            <p:cNvSpPr/>
            <p:nvPr/>
          </p:nvSpPr>
          <p:spPr>
            <a:xfrm>
              <a:off x="2779850" y="10166911"/>
              <a:ext cx="235615" cy="241490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>
                <a:latin typeface="BNPP Sans Light" panose="02000503020000020004" pitchFamily="50" charset="0"/>
              </a:endParaRPr>
            </a:p>
          </p:txBody>
        </p:sp>
        <p:sp>
          <p:nvSpPr>
            <p:cNvPr id="46" name="object 44">
              <a:extLst>
                <a:ext uri="{FF2B5EF4-FFF2-40B4-BE49-F238E27FC236}">
                  <a16:creationId xmlns:a16="http://schemas.microsoft.com/office/drawing/2014/main" id="{116E7D40-B90B-0E46-B652-078707A056D7}"/>
                </a:ext>
              </a:extLst>
            </p:cNvPr>
            <p:cNvSpPr/>
            <p:nvPr/>
          </p:nvSpPr>
          <p:spPr>
            <a:xfrm>
              <a:off x="3145360" y="10166911"/>
              <a:ext cx="235584" cy="241490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>
                <a:latin typeface="BNPP Sans Light" panose="02000503020000020004" pitchFamily="50" charset="0"/>
              </a:endParaRPr>
            </a:p>
          </p:txBody>
        </p:sp>
        <p:sp>
          <p:nvSpPr>
            <p:cNvPr id="47" name="object 45">
              <a:extLst>
                <a:ext uri="{FF2B5EF4-FFF2-40B4-BE49-F238E27FC236}">
                  <a16:creationId xmlns:a16="http://schemas.microsoft.com/office/drawing/2014/main" id="{CA8F5E30-6B4F-A54C-8290-B143EEF074D0}"/>
                </a:ext>
              </a:extLst>
            </p:cNvPr>
            <p:cNvSpPr/>
            <p:nvPr/>
          </p:nvSpPr>
          <p:spPr>
            <a:xfrm>
              <a:off x="3358354" y="10166927"/>
              <a:ext cx="555625" cy="241935"/>
            </a:xfrm>
            <a:custGeom>
              <a:avLst/>
              <a:gdLst/>
              <a:ahLst/>
              <a:cxnLst/>
              <a:rect l="l" t="t" r="r" b="b"/>
              <a:pathLst>
                <a:path w="555625" h="241934">
                  <a:moveTo>
                    <a:pt x="270586" y="241477"/>
                  </a:moveTo>
                  <a:lnTo>
                    <a:pt x="253250" y="204152"/>
                  </a:lnTo>
                  <a:lnTo>
                    <a:pt x="245922" y="188137"/>
                  </a:lnTo>
                  <a:lnTo>
                    <a:pt x="229755" y="152755"/>
                  </a:lnTo>
                  <a:lnTo>
                    <a:pt x="227533" y="147904"/>
                  </a:lnTo>
                  <a:lnTo>
                    <a:pt x="199783" y="86169"/>
                  </a:lnTo>
                  <a:lnTo>
                    <a:pt x="196811" y="79362"/>
                  </a:lnTo>
                  <a:lnTo>
                    <a:pt x="176339" y="32385"/>
                  </a:lnTo>
                  <a:lnTo>
                    <a:pt x="163525" y="0"/>
                  </a:lnTo>
                  <a:lnTo>
                    <a:pt x="156794" y="0"/>
                  </a:lnTo>
                  <a:lnTo>
                    <a:pt x="156794" y="151930"/>
                  </a:lnTo>
                  <a:lnTo>
                    <a:pt x="143052" y="152488"/>
                  </a:lnTo>
                  <a:lnTo>
                    <a:pt x="136550" y="152679"/>
                  </a:lnTo>
                  <a:lnTo>
                    <a:pt x="129006" y="152755"/>
                  </a:lnTo>
                  <a:lnTo>
                    <a:pt x="122313" y="152679"/>
                  </a:lnTo>
                  <a:lnTo>
                    <a:pt x="107099" y="152222"/>
                  </a:lnTo>
                  <a:lnTo>
                    <a:pt x="99885" y="151930"/>
                  </a:lnTo>
                  <a:lnTo>
                    <a:pt x="106387" y="134937"/>
                  </a:lnTo>
                  <a:lnTo>
                    <a:pt x="114173" y="115760"/>
                  </a:lnTo>
                  <a:lnTo>
                    <a:pt x="121881" y="96520"/>
                  </a:lnTo>
                  <a:lnTo>
                    <a:pt x="128117" y="79362"/>
                  </a:lnTo>
                  <a:lnTo>
                    <a:pt x="133921" y="95897"/>
                  </a:lnTo>
                  <a:lnTo>
                    <a:pt x="141287" y="114427"/>
                  </a:lnTo>
                  <a:lnTo>
                    <a:pt x="149237" y="133565"/>
                  </a:lnTo>
                  <a:lnTo>
                    <a:pt x="156794" y="151930"/>
                  </a:lnTo>
                  <a:lnTo>
                    <a:pt x="156794" y="0"/>
                  </a:lnTo>
                  <a:lnTo>
                    <a:pt x="107061" y="0"/>
                  </a:lnTo>
                  <a:lnTo>
                    <a:pt x="91719" y="37045"/>
                  </a:lnTo>
                  <a:lnTo>
                    <a:pt x="67056" y="93027"/>
                  </a:lnTo>
                  <a:lnTo>
                    <a:pt x="39370" y="154622"/>
                  </a:lnTo>
                  <a:lnTo>
                    <a:pt x="0" y="241477"/>
                  </a:lnTo>
                  <a:lnTo>
                    <a:pt x="69024" y="241477"/>
                  </a:lnTo>
                  <a:lnTo>
                    <a:pt x="73456" y="228866"/>
                  </a:lnTo>
                  <a:lnTo>
                    <a:pt x="78117" y="216268"/>
                  </a:lnTo>
                  <a:lnTo>
                    <a:pt x="83032" y="203174"/>
                  </a:lnTo>
                  <a:lnTo>
                    <a:pt x="88239" y="189090"/>
                  </a:lnTo>
                  <a:lnTo>
                    <a:pt x="107454" y="188417"/>
                  </a:lnTo>
                  <a:lnTo>
                    <a:pt x="117665" y="188214"/>
                  </a:lnTo>
                  <a:lnTo>
                    <a:pt x="139611" y="188201"/>
                  </a:lnTo>
                  <a:lnTo>
                    <a:pt x="161010" y="188328"/>
                  </a:lnTo>
                  <a:lnTo>
                    <a:pt x="170230" y="188582"/>
                  </a:lnTo>
                  <a:lnTo>
                    <a:pt x="177990" y="208381"/>
                  </a:lnTo>
                  <a:lnTo>
                    <a:pt x="183946" y="222923"/>
                  </a:lnTo>
                  <a:lnTo>
                    <a:pt x="188315" y="233527"/>
                  </a:lnTo>
                  <a:lnTo>
                    <a:pt x="191287" y="241477"/>
                  </a:lnTo>
                  <a:lnTo>
                    <a:pt x="270586" y="241477"/>
                  </a:lnTo>
                  <a:close/>
                </a:path>
                <a:path w="555625" h="241934">
                  <a:moveTo>
                    <a:pt x="555002" y="241477"/>
                  </a:moveTo>
                  <a:lnTo>
                    <a:pt x="538988" y="222123"/>
                  </a:lnTo>
                  <a:lnTo>
                    <a:pt x="514578" y="190842"/>
                  </a:lnTo>
                  <a:lnTo>
                    <a:pt x="491007" y="159575"/>
                  </a:lnTo>
                  <a:lnTo>
                    <a:pt x="477520" y="140233"/>
                  </a:lnTo>
                  <a:lnTo>
                    <a:pt x="501192" y="128384"/>
                  </a:lnTo>
                  <a:lnTo>
                    <a:pt x="519252" y="113588"/>
                  </a:lnTo>
                  <a:lnTo>
                    <a:pt x="530771" y="95758"/>
                  </a:lnTo>
                  <a:lnTo>
                    <a:pt x="534809" y="74841"/>
                  </a:lnTo>
                  <a:lnTo>
                    <a:pt x="524129" y="39535"/>
                  </a:lnTo>
                  <a:lnTo>
                    <a:pt x="496646" y="16421"/>
                  </a:lnTo>
                  <a:lnTo>
                    <a:pt x="459257" y="3822"/>
                  </a:lnTo>
                  <a:lnTo>
                    <a:pt x="418833" y="0"/>
                  </a:lnTo>
                  <a:lnTo>
                    <a:pt x="299224" y="0"/>
                  </a:lnTo>
                  <a:lnTo>
                    <a:pt x="301383" y="22593"/>
                  </a:lnTo>
                  <a:lnTo>
                    <a:pt x="302602" y="51320"/>
                  </a:lnTo>
                  <a:lnTo>
                    <a:pt x="303161" y="83045"/>
                  </a:lnTo>
                  <a:lnTo>
                    <a:pt x="303288" y="114681"/>
                  </a:lnTo>
                  <a:lnTo>
                    <a:pt x="303085" y="149872"/>
                  </a:lnTo>
                  <a:lnTo>
                    <a:pt x="302310" y="182791"/>
                  </a:lnTo>
                  <a:lnTo>
                    <a:pt x="300799" y="213347"/>
                  </a:lnTo>
                  <a:lnTo>
                    <a:pt x="298335" y="241477"/>
                  </a:lnTo>
                  <a:lnTo>
                    <a:pt x="378980" y="241477"/>
                  </a:lnTo>
                  <a:lnTo>
                    <a:pt x="376643" y="209130"/>
                  </a:lnTo>
                  <a:lnTo>
                    <a:pt x="375437" y="172212"/>
                  </a:lnTo>
                  <a:lnTo>
                    <a:pt x="374992" y="138214"/>
                  </a:lnTo>
                  <a:lnTo>
                    <a:pt x="375031" y="99377"/>
                  </a:lnTo>
                  <a:lnTo>
                    <a:pt x="375869" y="56502"/>
                  </a:lnTo>
                  <a:lnTo>
                    <a:pt x="376707" y="33629"/>
                  </a:lnTo>
                  <a:lnTo>
                    <a:pt x="382346" y="33337"/>
                  </a:lnTo>
                  <a:lnTo>
                    <a:pt x="405396" y="33134"/>
                  </a:lnTo>
                  <a:lnTo>
                    <a:pt x="421474" y="35102"/>
                  </a:lnTo>
                  <a:lnTo>
                    <a:pt x="439407" y="41833"/>
                  </a:lnTo>
                  <a:lnTo>
                    <a:pt x="453999" y="54546"/>
                  </a:lnTo>
                  <a:lnTo>
                    <a:pt x="460019" y="74434"/>
                  </a:lnTo>
                  <a:lnTo>
                    <a:pt x="454787" y="96100"/>
                  </a:lnTo>
                  <a:lnTo>
                    <a:pt x="440702" y="111112"/>
                  </a:lnTo>
                  <a:lnTo>
                    <a:pt x="420166" y="119087"/>
                  </a:lnTo>
                  <a:lnTo>
                    <a:pt x="395554" y="119595"/>
                  </a:lnTo>
                  <a:lnTo>
                    <a:pt x="416902" y="152501"/>
                  </a:lnTo>
                  <a:lnTo>
                    <a:pt x="437070" y="185572"/>
                  </a:lnTo>
                  <a:lnTo>
                    <a:pt x="454723" y="216128"/>
                  </a:lnTo>
                  <a:lnTo>
                    <a:pt x="468528" y="241477"/>
                  </a:lnTo>
                  <a:lnTo>
                    <a:pt x="555002" y="241477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sz="1800">
                <a:latin typeface="BNPP Sans Light" panose="02000503020000020004" pitchFamily="50" charset="0"/>
              </a:endParaRPr>
            </a:p>
          </p:txBody>
        </p:sp>
        <p:sp>
          <p:nvSpPr>
            <p:cNvPr id="48" name="object 46">
              <a:extLst>
                <a:ext uri="{FF2B5EF4-FFF2-40B4-BE49-F238E27FC236}">
                  <a16:creationId xmlns:a16="http://schemas.microsoft.com/office/drawing/2014/main" id="{7ECB49AA-CF17-064F-929F-8149EB77D23D}"/>
                </a:ext>
              </a:extLst>
            </p:cNvPr>
            <p:cNvSpPr/>
            <p:nvPr/>
          </p:nvSpPr>
          <p:spPr>
            <a:xfrm>
              <a:off x="3944738" y="10166919"/>
              <a:ext cx="79714" cy="241479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>
                <a:latin typeface="BNPP Sans Light" panose="02000503020000020004" pitchFamily="50" charset="0"/>
              </a:endParaRPr>
            </a:p>
          </p:txBody>
        </p:sp>
        <p:sp>
          <p:nvSpPr>
            <p:cNvPr id="49" name="object 47">
              <a:extLst>
                <a:ext uri="{FF2B5EF4-FFF2-40B4-BE49-F238E27FC236}">
                  <a16:creationId xmlns:a16="http://schemas.microsoft.com/office/drawing/2014/main" id="{8D9F0A5D-88CE-C543-B751-E7163E636C96}"/>
                </a:ext>
              </a:extLst>
            </p:cNvPr>
            <p:cNvSpPr/>
            <p:nvPr/>
          </p:nvSpPr>
          <p:spPr>
            <a:xfrm>
              <a:off x="4076391" y="10166934"/>
              <a:ext cx="249521" cy="241448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>
                <a:latin typeface="BNPP Sans Light" panose="02000503020000020004" pitchFamily="50" charset="0"/>
              </a:endParaRPr>
            </a:p>
          </p:txBody>
        </p:sp>
        <p:sp>
          <p:nvSpPr>
            <p:cNvPr id="50" name="object 48">
              <a:extLst>
                <a:ext uri="{FF2B5EF4-FFF2-40B4-BE49-F238E27FC236}">
                  <a16:creationId xmlns:a16="http://schemas.microsoft.com/office/drawing/2014/main" id="{BE575E7D-A037-204A-9162-5A6EA2627210}"/>
                </a:ext>
              </a:extLst>
            </p:cNvPr>
            <p:cNvSpPr/>
            <p:nvPr/>
          </p:nvSpPr>
          <p:spPr>
            <a:xfrm>
              <a:off x="4334854" y="10166922"/>
              <a:ext cx="271145" cy="241935"/>
            </a:xfrm>
            <a:custGeom>
              <a:avLst/>
              <a:gdLst/>
              <a:ahLst/>
              <a:cxnLst/>
              <a:rect l="l" t="t" r="r" b="b"/>
              <a:pathLst>
                <a:path w="271145" h="241934">
                  <a:moveTo>
                    <a:pt x="163492" y="0"/>
                  </a:moveTo>
                  <a:lnTo>
                    <a:pt x="107022" y="0"/>
                  </a:lnTo>
                  <a:lnTo>
                    <a:pt x="91693" y="37045"/>
                  </a:lnTo>
                  <a:lnTo>
                    <a:pt x="67045" y="93022"/>
                  </a:lnTo>
                  <a:lnTo>
                    <a:pt x="39359" y="154624"/>
                  </a:lnTo>
                  <a:lnTo>
                    <a:pt x="0" y="241479"/>
                  </a:lnTo>
                  <a:lnTo>
                    <a:pt x="68982" y="241479"/>
                  </a:lnTo>
                  <a:lnTo>
                    <a:pt x="73421" y="228869"/>
                  </a:lnTo>
                  <a:lnTo>
                    <a:pt x="78086" y="216270"/>
                  </a:lnTo>
                  <a:lnTo>
                    <a:pt x="83003" y="203177"/>
                  </a:lnTo>
                  <a:lnTo>
                    <a:pt x="88196" y="189083"/>
                  </a:lnTo>
                  <a:lnTo>
                    <a:pt x="107448" y="188418"/>
                  </a:lnTo>
                  <a:lnTo>
                    <a:pt x="117652" y="188208"/>
                  </a:lnTo>
                  <a:lnTo>
                    <a:pt x="245881" y="188130"/>
                  </a:lnTo>
                  <a:lnTo>
                    <a:pt x="229705" y="152749"/>
                  </a:lnTo>
                  <a:lnTo>
                    <a:pt x="128969" y="152749"/>
                  </a:lnTo>
                  <a:lnTo>
                    <a:pt x="122296" y="152674"/>
                  </a:lnTo>
                  <a:lnTo>
                    <a:pt x="107087" y="152214"/>
                  </a:lnTo>
                  <a:lnTo>
                    <a:pt x="99913" y="151922"/>
                  </a:lnTo>
                  <a:lnTo>
                    <a:pt x="106371" y="134938"/>
                  </a:lnTo>
                  <a:lnTo>
                    <a:pt x="114153" y="115758"/>
                  </a:lnTo>
                  <a:lnTo>
                    <a:pt x="121864" y="96518"/>
                  </a:lnTo>
                  <a:lnTo>
                    <a:pt x="128111" y="79358"/>
                  </a:lnTo>
                  <a:lnTo>
                    <a:pt x="196766" y="79358"/>
                  </a:lnTo>
                  <a:lnTo>
                    <a:pt x="176286" y="32382"/>
                  </a:lnTo>
                  <a:lnTo>
                    <a:pt x="163492" y="0"/>
                  </a:lnTo>
                  <a:close/>
                </a:path>
                <a:path w="271145" h="241934">
                  <a:moveTo>
                    <a:pt x="245881" y="188130"/>
                  </a:moveTo>
                  <a:lnTo>
                    <a:pt x="128969" y="188130"/>
                  </a:lnTo>
                  <a:lnTo>
                    <a:pt x="161003" y="188320"/>
                  </a:lnTo>
                  <a:lnTo>
                    <a:pt x="170225" y="188580"/>
                  </a:lnTo>
                  <a:lnTo>
                    <a:pt x="177988" y="208379"/>
                  </a:lnTo>
                  <a:lnTo>
                    <a:pt x="188287" y="233524"/>
                  </a:lnTo>
                  <a:lnTo>
                    <a:pt x="191250" y="241479"/>
                  </a:lnTo>
                  <a:lnTo>
                    <a:pt x="270546" y="241479"/>
                  </a:lnTo>
                  <a:lnTo>
                    <a:pt x="253208" y="204156"/>
                  </a:lnTo>
                  <a:lnTo>
                    <a:pt x="245881" y="188130"/>
                  </a:lnTo>
                  <a:close/>
                </a:path>
                <a:path w="271145" h="241934">
                  <a:moveTo>
                    <a:pt x="196766" y="79358"/>
                  </a:moveTo>
                  <a:lnTo>
                    <a:pt x="128111" y="79358"/>
                  </a:lnTo>
                  <a:lnTo>
                    <a:pt x="133906" y="95896"/>
                  </a:lnTo>
                  <a:lnTo>
                    <a:pt x="141257" y="114427"/>
                  </a:lnTo>
                  <a:lnTo>
                    <a:pt x="149197" y="133564"/>
                  </a:lnTo>
                  <a:lnTo>
                    <a:pt x="156759" y="151922"/>
                  </a:lnTo>
                  <a:lnTo>
                    <a:pt x="143045" y="152480"/>
                  </a:lnTo>
                  <a:lnTo>
                    <a:pt x="136533" y="152674"/>
                  </a:lnTo>
                  <a:lnTo>
                    <a:pt x="128969" y="152749"/>
                  </a:lnTo>
                  <a:lnTo>
                    <a:pt x="229705" y="152749"/>
                  </a:lnTo>
                  <a:lnTo>
                    <a:pt x="227489" y="147903"/>
                  </a:lnTo>
                  <a:lnTo>
                    <a:pt x="199734" y="86164"/>
                  </a:lnTo>
                  <a:lnTo>
                    <a:pt x="196766" y="7935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sz="1800">
                <a:latin typeface="BNPP Sans Light" panose="02000503020000020004" pitchFamily="50" charset="0"/>
              </a:endParaRPr>
            </a:p>
          </p:txBody>
        </p:sp>
        <p:sp>
          <p:nvSpPr>
            <p:cNvPr id="51" name="object 49">
              <a:extLst>
                <a:ext uri="{FF2B5EF4-FFF2-40B4-BE49-F238E27FC236}">
                  <a16:creationId xmlns:a16="http://schemas.microsoft.com/office/drawing/2014/main" id="{FCF2A1B1-5648-0842-B0DB-DA998CCF6FFF}"/>
                </a:ext>
              </a:extLst>
            </p:cNvPr>
            <p:cNvSpPr/>
            <p:nvPr/>
          </p:nvSpPr>
          <p:spPr>
            <a:xfrm>
              <a:off x="4623312" y="10160665"/>
              <a:ext cx="207826" cy="253971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>
                <a:latin typeface="BNPP Sans Light" panose="02000503020000020004" pitchFamily="50" charset="0"/>
              </a:endParaRPr>
            </a:p>
          </p:txBody>
        </p:sp>
        <p:sp>
          <p:nvSpPr>
            <p:cNvPr id="52" name="object 50">
              <a:extLst>
                <a:ext uri="{FF2B5EF4-FFF2-40B4-BE49-F238E27FC236}">
                  <a16:creationId xmlns:a16="http://schemas.microsoft.com/office/drawing/2014/main" id="{D11D38E2-801C-3C4D-9761-CD4E76913114}"/>
                </a:ext>
              </a:extLst>
            </p:cNvPr>
            <p:cNvSpPr/>
            <p:nvPr/>
          </p:nvSpPr>
          <p:spPr>
            <a:xfrm>
              <a:off x="4964853" y="10160665"/>
              <a:ext cx="835660" cy="254635"/>
            </a:xfrm>
            <a:custGeom>
              <a:avLst/>
              <a:gdLst/>
              <a:ahLst/>
              <a:cxnLst/>
              <a:rect l="l" t="t" r="r" b="b"/>
              <a:pathLst>
                <a:path w="835660" h="254634">
                  <a:moveTo>
                    <a:pt x="256692" y="130327"/>
                  </a:moveTo>
                  <a:lnTo>
                    <a:pt x="180543" y="130327"/>
                  </a:lnTo>
                  <a:lnTo>
                    <a:pt x="181902" y="148005"/>
                  </a:lnTo>
                  <a:lnTo>
                    <a:pt x="182702" y="169824"/>
                  </a:lnTo>
                  <a:lnTo>
                    <a:pt x="183184" y="216357"/>
                  </a:lnTo>
                  <a:lnTo>
                    <a:pt x="157657" y="218135"/>
                  </a:lnTo>
                  <a:lnTo>
                    <a:pt x="128422" y="213652"/>
                  </a:lnTo>
                  <a:lnTo>
                    <a:pt x="103847" y="198704"/>
                  </a:lnTo>
                  <a:lnTo>
                    <a:pt x="86918" y="171094"/>
                  </a:lnTo>
                  <a:lnTo>
                    <a:pt x="80606" y="128574"/>
                  </a:lnTo>
                  <a:lnTo>
                    <a:pt x="84645" y="97421"/>
                  </a:lnTo>
                  <a:lnTo>
                    <a:pt x="97751" y="68211"/>
                  </a:lnTo>
                  <a:lnTo>
                    <a:pt x="121450" y="46558"/>
                  </a:lnTo>
                  <a:lnTo>
                    <a:pt x="157238" y="38100"/>
                  </a:lnTo>
                  <a:lnTo>
                    <a:pt x="172707" y="39585"/>
                  </a:lnTo>
                  <a:lnTo>
                    <a:pt x="189649" y="43649"/>
                  </a:lnTo>
                  <a:lnTo>
                    <a:pt x="206171" y="49631"/>
                  </a:lnTo>
                  <a:lnTo>
                    <a:pt x="220370" y="56921"/>
                  </a:lnTo>
                  <a:lnTo>
                    <a:pt x="237871" y="9448"/>
                  </a:lnTo>
                  <a:lnTo>
                    <a:pt x="218541" y="5524"/>
                  </a:lnTo>
                  <a:lnTo>
                    <a:pt x="197497" y="2540"/>
                  </a:lnTo>
                  <a:lnTo>
                    <a:pt x="176695" y="660"/>
                  </a:lnTo>
                  <a:lnTo>
                    <a:pt x="158127" y="0"/>
                  </a:lnTo>
                  <a:lnTo>
                    <a:pt x="104025" y="6311"/>
                  </a:lnTo>
                  <a:lnTo>
                    <a:pt x="60096" y="24079"/>
                  </a:lnTo>
                  <a:lnTo>
                    <a:pt x="27419" y="51485"/>
                  </a:lnTo>
                  <a:lnTo>
                    <a:pt x="7035" y="86766"/>
                  </a:lnTo>
                  <a:lnTo>
                    <a:pt x="0" y="128130"/>
                  </a:lnTo>
                  <a:lnTo>
                    <a:pt x="6680" y="167881"/>
                  </a:lnTo>
                  <a:lnTo>
                    <a:pt x="25908" y="202438"/>
                  </a:lnTo>
                  <a:lnTo>
                    <a:pt x="56502" y="229692"/>
                  </a:lnTo>
                  <a:lnTo>
                    <a:pt x="97243" y="247561"/>
                  </a:lnTo>
                  <a:lnTo>
                    <a:pt x="146939" y="253987"/>
                  </a:lnTo>
                  <a:lnTo>
                    <a:pt x="176491" y="252590"/>
                  </a:lnTo>
                  <a:lnTo>
                    <a:pt x="205041" y="248513"/>
                  </a:lnTo>
                  <a:lnTo>
                    <a:pt x="231089" y="241909"/>
                  </a:lnTo>
                  <a:lnTo>
                    <a:pt x="253098" y="232956"/>
                  </a:lnTo>
                  <a:lnTo>
                    <a:pt x="255663" y="152349"/>
                  </a:lnTo>
                  <a:lnTo>
                    <a:pt x="256692" y="130327"/>
                  </a:lnTo>
                  <a:close/>
                </a:path>
                <a:path w="835660" h="254634">
                  <a:moveTo>
                    <a:pt x="559917" y="247738"/>
                  </a:moveTo>
                  <a:lnTo>
                    <a:pt x="543890" y="228384"/>
                  </a:lnTo>
                  <a:lnTo>
                    <a:pt x="519480" y="197104"/>
                  </a:lnTo>
                  <a:lnTo>
                    <a:pt x="495922" y="165836"/>
                  </a:lnTo>
                  <a:lnTo>
                    <a:pt x="482422" y="146494"/>
                  </a:lnTo>
                  <a:lnTo>
                    <a:pt x="506107" y="134645"/>
                  </a:lnTo>
                  <a:lnTo>
                    <a:pt x="524179" y="119849"/>
                  </a:lnTo>
                  <a:lnTo>
                    <a:pt x="535698" y="102019"/>
                  </a:lnTo>
                  <a:lnTo>
                    <a:pt x="539750" y="81102"/>
                  </a:lnTo>
                  <a:lnTo>
                    <a:pt x="529043" y="45796"/>
                  </a:lnTo>
                  <a:lnTo>
                    <a:pt x="501548" y="22682"/>
                  </a:lnTo>
                  <a:lnTo>
                    <a:pt x="464146" y="10083"/>
                  </a:lnTo>
                  <a:lnTo>
                    <a:pt x="423735" y="6261"/>
                  </a:lnTo>
                  <a:lnTo>
                    <a:pt x="304139" y="6261"/>
                  </a:lnTo>
                  <a:lnTo>
                    <a:pt x="306285" y="28854"/>
                  </a:lnTo>
                  <a:lnTo>
                    <a:pt x="307517" y="57581"/>
                  </a:lnTo>
                  <a:lnTo>
                    <a:pt x="308076" y="89306"/>
                  </a:lnTo>
                  <a:lnTo>
                    <a:pt x="308203" y="120942"/>
                  </a:lnTo>
                  <a:lnTo>
                    <a:pt x="308000" y="156133"/>
                  </a:lnTo>
                  <a:lnTo>
                    <a:pt x="307238" y="189052"/>
                  </a:lnTo>
                  <a:lnTo>
                    <a:pt x="305727" y="219608"/>
                  </a:lnTo>
                  <a:lnTo>
                    <a:pt x="303250" y="247738"/>
                  </a:lnTo>
                  <a:lnTo>
                    <a:pt x="383882" y="247738"/>
                  </a:lnTo>
                  <a:lnTo>
                    <a:pt x="381546" y="215392"/>
                  </a:lnTo>
                  <a:lnTo>
                    <a:pt x="380352" y="178473"/>
                  </a:lnTo>
                  <a:lnTo>
                    <a:pt x="379907" y="144475"/>
                  </a:lnTo>
                  <a:lnTo>
                    <a:pt x="379933" y="105638"/>
                  </a:lnTo>
                  <a:lnTo>
                    <a:pt x="380784" y="62763"/>
                  </a:lnTo>
                  <a:lnTo>
                    <a:pt x="381622" y="39890"/>
                  </a:lnTo>
                  <a:lnTo>
                    <a:pt x="387248" y="39598"/>
                  </a:lnTo>
                  <a:lnTo>
                    <a:pt x="410298" y="39395"/>
                  </a:lnTo>
                  <a:lnTo>
                    <a:pt x="426389" y="41363"/>
                  </a:lnTo>
                  <a:lnTo>
                    <a:pt x="444322" y="48094"/>
                  </a:lnTo>
                  <a:lnTo>
                    <a:pt x="458914" y="60807"/>
                  </a:lnTo>
                  <a:lnTo>
                    <a:pt x="464934" y="80695"/>
                  </a:lnTo>
                  <a:lnTo>
                    <a:pt x="459701" y="102362"/>
                  </a:lnTo>
                  <a:lnTo>
                    <a:pt x="445617" y="117373"/>
                  </a:lnTo>
                  <a:lnTo>
                    <a:pt x="425069" y="125349"/>
                  </a:lnTo>
                  <a:lnTo>
                    <a:pt x="400456" y="125857"/>
                  </a:lnTo>
                  <a:lnTo>
                    <a:pt x="421817" y="158762"/>
                  </a:lnTo>
                  <a:lnTo>
                    <a:pt x="442010" y="191833"/>
                  </a:lnTo>
                  <a:lnTo>
                    <a:pt x="459676" y="222389"/>
                  </a:lnTo>
                  <a:lnTo>
                    <a:pt x="473481" y="247738"/>
                  </a:lnTo>
                  <a:lnTo>
                    <a:pt x="559917" y="247738"/>
                  </a:lnTo>
                  <a:close/>
                </a:path>
                <a:path w="835660" h="254634">
                  <a:moveTo>
                    <a:pt x="835393" y="127254"/>
                  </a:moveTo>
                  <a:lnTo>
                    <a:pt x="825398" y="75247"/>
                  </a:lnTo>
                  <a:lnTo>
                    <a:pt x="797814" y="35064"/>
                  </a:lnTo>
                  <a:lnTo>
                    <a:pt x="791159" y="30937"/>
                  </a:lnTo>
                  <a:lnTo>
                    <a:pt x="760158" y="11658"/>
                  </a:lnTo>
                  <a:lnTo>
                    <a:pt x="760158" y="127254"/>
                  </a:lnTo>
                  <a:lnTo>
                    <a:pt x="756259" y="168402"/>
                  </a:lnTo>
                  <a:lnTo>
                    <a:pt x="745096" y="198259"/>
                  </a:lnTo>
                  <a:lnTo>
                    <a:pt x="727456" y="216446"/>
                  </a:lnTo>
                  <a:lnTo>
                    <a:pt x="704138" y="222592"/>
                  </a:lnTo>
                  <a:lnTo>
                    <a:pt x="680516" y="216446"/>
                  </a:lnTo>
                  <a:lnTo>
                    <a:pt x="662597" y="198259"/>
                  </a:lnTo>
                  <a:lnTo>
                    <a:pt x="651230" y="168402"/>
                  </a:lnTo>
                  <a:lnTo>
                    <a:pt x="647255" y="127254"/>
                  </a:lnTo>
                  <a:lnTo>
                    <a:pt x="651230" y="85915"/>
                  </a:lnTo>
                  <a:lnTo>
                    <a:pt x="680516" y="37223"/>
                  </a:lnTo>
                  <a:lnTo>
                    <a:pt x="727456" y="37223"/>
                  </a:lnTo>
                  <a:lnTo>
                    <a:pt x="756259" y="85915"/>
                  </a:lnTo>
                  <a:lnTo>
                    <a:pt x="760158" y="127254"/>
                  </a:lnTo>
                  <a:lnTo>
                    <a:pt x="760158" y="11658"/>
                  </a:lnTo>
                  <a:lnTo>
                    <a:pt x="756196" y="9182"/>
                  </a:lnTo>
                  <a:lnTo>
                    <a:pt x="704138" y="0"/>
                  </a:lnTo>
                  <a:lnTo>
                    <a:pt x="651827" y="9182"/>
                  </a:lnTo>
                  <a:lnTo>
                    <a:pt x="610108" y="35064"/>
                  </a:lnTo>
                  <a:lnTo>
                    <a:pt x="582485" y="75247"/>
                  </a:lnTo>
                  <a:lnTo>
                    <a:pt x="572490" y="127254"/>
                  </a:lnTo>
                  <a:lnTo>
                    <a:pt x="582485" y="179044"/>
                  </a:lnTo>
                  <a:lnTo>
                    <a:pt x="610108" y="219214"/>
                  </a:lnTo>
                  <a:lnTo>
                    <a:pt x="651827" y="245211"/>
                  </a:lnTo>
                  <a:lnTo>
                    <a:pt x="704138" y="254444"/>
                  </a:lnTo>
                  <a:lnTo>
                    <a:pt x="756196" y="245211"/>
                  </a:lnTo>
                  <a:lnTo>
                    <a:pt x="792403" y="222592"/>
                  </a:lnTo>
                  <a:lnTo>
                    <a:pt x="797814" y="219214"/>
                  </a:lnTo>
                  <a:lnTo>
                    <a:pt x="825398" y="179044"/>
                  </a:lnTo>
                  <a:lnTo>
                    <a:pt x="835393" y="127254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sz="1800">
                <a:latin typeface="BNPP Sans Light" panose="02000503020000020004" pitchFamily="50" charset="0"/>
              </a:endParaRPr>
            </a:p>
          </p:txBody>
        </p:sp>
        <p:sp>
          <p:nvSpPr>
            <p:cNvPr id="53" name="object 51">
              <a:extLst>
                <a:ext uri="{FF2B5EF4-FFF2-40B4-BE49-F238E27FC236}">
                  <a16:creationId xmlns:a16="http://schemas.microsoft.com/office/drawing/2014/main" id="{4265AE7D-5582-AE44-9B1A-78F5772C066C}"/>
                </a:ext>
              </a:extLst>
            </p:cNvPr>
            <p:cNvSpPr/>
            <p:nvPr/>
          </p:nvSpPr>
          <p:spPr>
            <a:xfrm>
              <a:off x="5833827" y="10166919"/>
              <a:ext cx="235165" cy="247741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>
                <a:latin typeface="BNPP Sans Light" panose="02000503020000020004" pitchFamily="50" charset="0"/>
              </a:endParaRPr>
            </a:p>
          </p:txBody>
        </p:sp>
        <p:sp>
          <p:nvSpPr>
            <p:cNvPr id="54" name="object 52">
              <a:extLst>
                <a:ext uri="{FF2B5EF4-FFF2-40B4-BE49-F238E27FC236}">
                  <a16:creationId xmlns:a16="http://schemas.microsoft.com/office/drawing/2014/main" id="{A05F8972-E764-A94F-A1F7-679671C286C0}"/>
                </a:ext>
              </a:extLst>
            </p:cNvPr>
            <p:cNvSpPr/>
            <p:nvPr/>
          </p:nvSpPr>
          <p:spPr>
            <a:xfrm>
              <a:off x="6116023" y="10166911"/>
              <a:ext cx="235584" cy="241490"/>
            </a:xfrm>
            <a:prstGeom prst="rect">
              <a:avLst/>
            </a:prstGeom>
            <a:blipFill>
              <a:blip r:embed="rId1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>
                <a:latin typeface="BNPP Sans Light" panose="02000503020000020004" pitchFamily="50" charset="0"/>
              </a:endParaRPr>
            </a:p>
          </p:txBody>
        </p:sp>
        <p:sp>
          <p:nvSpPr>
            <p:cNvPr id="55" name="object 53">
              <a:extLst>
                <a:ext uri="{FF2B5EF4-FFF2-40B4-BE49-F238E27FC236}">
                  <a16:creationId xmlns:a16="http://schemas.microsoft.com/office/drawing/2014/main" id="{388CF36E-8E3A-9E4B-BF58-AC59C857123E}"/>
                </a:ext>
              </a:extLst>
            </p:cNvPr>
            <p:cNvSpPr/>
            <p:nvPr/>
          </p:nvSpPr>
          <p:spPr>
            <a:xfrm>
              <a:off x="2208280" y="9453860"/>
              <a:ext cx="2690495" cy="526415"/>
            </a:xfrm>
            <a:custGeom>
              <a:avLst/>
              <a:gdLst/>
              <a:ahLst/>
              <a:cxnLst/>
              <a:rect l="l" t="t" r="r" b="b"/>
              <a:pathLst>
                <a:path w="2690495" h="526415">
                  <a:moveTo>
                    <a:pt x="569506" y="525881"/>
                  </a:moveTo>
                  <a:lnTo>
                    <a:pt x="535978" y="452628"/>
                  </a:lnTo>
                  <a:lnTo>
                    <a:pt x="512343" y="400418"/>
                  </a:lnTo>
                  <a:lnTo>
                    <a:pt x="482600" y="334340"/>
                  </a:lnTo>
                  <a:lnTo>
                    <a:pt x="458965" y="281647"/>
                  </a:lnTo>
                  <a:lnTo>
                    <a:pt x="431304" y="219684"/>
                  </a:lnTo>
                  <a:lnTo>
                    <a:pt x="404787" y="159956"/>
                  </a:lnTo>
                  <a:lnTo>
                    <a:pt x="402513" y="154787"/>
                  </a:lnTo>
                  <a:lnTo>
                    <a:pt x="380707" y="105283"/>
                  </a:lnTo>
                  <a:lnTo>
                    <a:pt x="360324" y="58521"/>
                  </a:lnTo>
                  <a:lnTo>
                    <a:pt x="348627" y="31127"/>
                  </a:lnTo>
                  <a:lnTo>
                    <a:pt x="348627" y="332828"/>
                  </a:lnTo>
                  <a:lnTo>
                    <a:pt x="291782" y="334213"/>
                  </a:lnTo>
                  <a:lnTo>
                    <a:pt x="273507" y="334340"/>
                  </a:lnTo>
                  <a:lnTo>
                    <a:pt x="254012" y="334213"/>
                  </a:lnTo>
                  <a:lnTo>
                    <a:pt x="195364" y="332828"/>
                  </a:lnTo>
                  <a:lnTo>
                    <a:pt x="215925" y="283984"/>
                  </a:lnTo>
                  <a:lnTo>
                    <a:pt x="235839" y="237883"/>
                  </a:lnTo>
                  <a:lnTo>
                    <a:pt x="255066" y="194754"/>
                  </a:lnTo>
                  <a:lnTo>
                    <a:pt x="273507" y="154787"/>
                  </a:lnTo>
                  <a:lnTo>
                    <a:pt x="302056" y="222097"/>
                  </a:lnTo>
                  <a:lnTo>
                    <a:pt x="323799" y="273621"/>
                  </a:lnTo>
                  <a:lnTo>
                    <a:pt x="348627" y="332828"/>
                  </a:lnTo>
                  <a:lnTo>
                    <a:pt x="348627" y="31127"/>
                  </a:lnTo>
                  <a:lnTo>
                    <a:pt x="344944" y="22491"/>
                  </a:lnTo>
                  <a:lnTo>
                    <a:pt x="335851" y="12"/>
                  </a:lnTo>
                  <a:lnTo>
                    <a:pt x="234391" y="12"/>
                  </a:lnTo>
                  <a:lnTo>
                    <a:pt x="206260" y="68795"/>
                  </a:lnTo>
                  <a:lnTo>
                    <a:pt x="184467" y="118897"/>
                  </a:lnTo>
                  <a:lnTo>
                    <a:pt x="159283" y="175742"/>
                  </a:lnTo>
                  <a:lnTo>
                    <a:pt x="132041" y="236499"/>
                  </a:lnTo>
                  <a:lnTo>
                    <a:pt x="104076" y="298361"/>
                  </a:lnTo>
                  <a:lnTo>
                    <a:pt x="87718" y="334340"/>
                  </a:lnTo>
                  <a:lnTo>
                    <a:pt x="51320" y="414159"/>
                  </a:lnTo>
                  <a:lnTo>
                    <a:pt x="0" y="525881"/>
                  </a:lnTo>
                  <a:lnTo>
                    <a:pt x="126250" y="525881"/>
                  </a:lnTo>
                  <a:lnTo>
                    <a:pt x="145580" y="465886"/>
                  </a:lnTo>
                  <a:lnTo>
                    <a:pt x="168325" y="401955"/>
                  </a:lnTo>
                  <a:lnTo>
                    <a:pt x="244500" y="400558"/>
                  </a:lnTo>
                  <a:lnTo>
                    <a:pt x="296900" y="400532"/>
                  </a:lnTo>
                  <a:lnTo>
                    <a:pt x="302780" y="400558"/>
                  </a:lnTo>
                  <a:lnTo>
                    <a:pt x="376453" y="401955"/>
                  </a:lnTo>
                  <a:lnTo>
                    <a:pt x="392277" y="441706"/>
                  </a:lnTo>
                  <a:lnTo>
                    <a:pt x="416674" y="504304"/>
                  </a:lnTo>
                  <a:lnTo>
                    <a:pt x="424522" y="525881"/>
                  </a:lnTo>
                  <a:lnTo>
                    <a:pt x="569506" y="525881"/>
                  </a:lnTo>
                  <a:close/>
                </a:path>
                <a:path w="2690495" h="526415">
                  <a:moveTo>
                    <a:pt x="1146873" y="525881"/>
                  </a:moveTo>
                  <a:lnTo>
                    <a:pt x="1098753" y="461276"/>
                  </a:lnTo>
                  <a:lnTo>
                    <a:pt x="1063599" y="409460"/>
                  </a:lnTo>
                  <a:lnTo>
                    <a:pt x="1029258" y="357390"/>
                  </a:lnTo>
                  <a:lnTo>
                    <a:pt x="1001890" y="314642"/>
                  </a:lnTo>
                  <a:lnTo>
                    <a:pt x="987640" y="290753"/>
                  </a:lnTo>
                  <a:lnTo>
                    <a:pt x="1039444" y="268643"/>
                  </a:lnTo>
                  <a:lnTo>
                    <a:pt x="1076540" y="238264"/>
                  </a:lnTo>
                  <a:lnTo>
                    <a:pt x="1098854" y="199580"/>
                  </a:lnTo>
                  <a:lnTo>
                    <a:pt x="1106309" y="152527"/>
                  </a:lnTo>
                  <a:lnTo>
                    <a:pt x="1098715" y="105752"/>
                  </a:lnTo>
                  <a:lnTo>
                    <a:pt x="1077671" y="69062"/>
                  </a:lnTo>
                  <a:lnTo>
                    <a:pt x="1045883" y="41402"/>
                  </a:lnTo>
                  <a:lnTo>
                    <a:pt x="1005992" y="21717"/>
                  </a:lnTo>
                  <a:lnTo>
                    <a:pt x="960666" y="8953"/>
                  </a:lnTo>
                  <a:lnTo>
                    <a:pt x="912583" y="2070"/>
                  </a:lnTo>
                  <a:lnTo>
                    <a:pt x="864412" y="0"/>
                  </a:lnTo>
                  <a:lnTo>
                    <a:pt x="635266" y="0"/>
                  </a:lnTo>
                  <a:lnTo>
                    <a:pt x="638644" y="35979"/>
                  </a:lnTo>
                  <a:lnTo>
                    <a:pt x="640842" y="82778"/>
                  </a:lnTo>
                  <a:lnTo>
                    <a:pt x="642099" y="136601"/>
                  </a:lnTo>
                  <a:lnTo>
                    <a:pt x="642670" y="193662"/>
                  </a:lnTo>
                  <a:lnTo>
                    <a:pt x="642797" y="250177"/>
                  </a:lnTo>
                  <a:lnTo>
                    <a:pt x="642581" y="313677"/>
                  </a:lnTo>
                  <a:lnTo>
                    <a:pt x="641794" y="373291"/>
                  </a:lnTo>
                  <a:lnTo>
                    <a:pt x="640207" y="428726"/>
                  </a:lnTo>
                  <a:lnTo>
                    <a:pt x="637603" y="479691"/>
                  </a:lnTo>
                  <a:lnTo>
                    <a:pt x="633755" y="525881"/>
                  </a:lnTo>
                  <a:lnTo>
                    <a:pt x="780249" y="525881"/>
                  </a:lnTo>
                  <a:lnTo>
                    <a:pt x="776224" y="473417"/>
                  </a:lnTo>
                  <a:lnTo>
                    <a:pt x="773785" y="410451"/>
                  </a:lnTo>
                  <a:lnTo>
                    <a:pt x="772541" y="346151"/>
                  </a:lnTo>
                  <a:lnTo>
                    <a:pt x="772071" y="289674"/>
                  </a:lnTo>
                  <a:lnTo>
                    <a:pt x="772007" y="250177"/>
                  </a:lnTo>
                  <a:lnTo>
                    <a:pt x="772287" y="215087"/>
                  </a:lnTo>
                  <a:lnTo>
                    <a:pt x="773137" y="168859"/>
                  </a:lnTo>
                  <a:lnTo>
                    <a:pt x="774547" y="117284"/>
                  </a:lnTo>
                  <a:lnTo>
                    <a:pt x="776516" y="66103"/>
                  </a:lnTo>
                  <a:lnTo>
                    <a:pt x="816457" y="63373"/>
                  </a:lnTo>
                  <a:lnTo>
                    <a:pt x="833628" y="63119"/>
                  </a:lnTo>
                  <a:lnTo>
                    <a:pt x="874433" y="66408"/>
                  </a:lnTo>
                  <a:lnTo>
                    <a:pt x="919543" y="79362"/>
                  </a:lnTo>
                  <a:lnTo>
                    <a:pt x="956043" y="106540"/>
                  </a:lnTo>
                  <a:lnTo>
                    <a:pt x="971080" y="152527"/>
                  </a:lnTo>
                  <a:lnTo>
                    <a:pt x="960272" y="192862"/>
                  </a:lnTo>
                  <a:lnTo>
                    <a:pt x="933056" y="222300"/>
                  </a:lnTo>
                  <a:lnTo>
                    <a:pt x="897255" y="240322"/>
                  </a:lnTo>
                  <a:lnTo>
                    <a:pt x="848728" y="246164"/>
                  </a:lnTo>
                  <a:lnTo>
                    <a:pt x="820077" y="242709"/>
                  </a:lnTo>
                  <a:lnTo>
                    <a:pt x="845642" y="281927"/>
                  </a:lnTo>
                  <a:lnTo>
                    <a:pt x="872667" y="324866"/>
                  </a:lnTo>
                  <a:lnTo>
                    <a:pt x="899998" y="369531"/>
                  </a:lnTo>
                  <a:lnTo>
                    <a:pt x="926503" y="413956"/>
                  </a:lnTo>
                  <a:lnTo>
                    <a:pt x="951077" y="456145"/>
                  </a:lnTo>
                  <a:lnTo>
                    <a:pt x="972566" y="494118"/>
                  </a:lnTo>
                  <a:lnTo>
                    <a:pt x="989850" y="525881"/>
                  </a:lnTo>
                  <a:lnTo>
                    <a:pt x="1146873" y="525881"/>
                  </a:lnTo>
                  <a:close/>
                </a:path>
                <a:path w="2690495" h="526415">
                  <a:moveTo>
                    <a:pt x="1691716" y="0"/>
                  </a:moveTo>
                  <a:lnTo>
                    <a:pt x="1569237" y="0"/>
                  </a:lnTo>
                  <a:lnTo>
                    <a:pt x="1560245" y="38455"/>
                  </a:lnTo>
                  <a:lnTo>
                    <a:pt x="1546491" y="84518"/>
                  </a:lnTo>
                  <a:lnTo>
                    <a:pt x="1529270" y="135623"/>
                  </a:lnTo>
                  <a:lnTo>
                    <a:pt x="1509915" y="189230"/>
                  </a:lnTo>
                  <a:lnTo>
                    <a:pt x="1489697" y="242824"/>
                  </a:lnTo>
                  <a:lnTo>
                    <a:pt x="1469936" y="293827"/>
                  </a:lnTo>
                  <a:lnTo>
                    <a:pt x="1437017" y="377926"/>
                  </a:lnTo>
                  <a:lnTo>
                    <a:pt x="1421244" y="336550"/>
                  </a:lnTo>
                  <a:lnTo>
                    <a:pt x="1405013" y="293103"/>
                  </a:lnTo>
                  <a:lnTo>
                    <a:pt x="1388529" y="247789"/>
                  </a:lnTo>
                  <a:lnTo>
                    <a:pt x="1371955" y="200799"/>
                  </a:lnTo>
                  <a:lnTo>
                    <a:pt x="1355483" y="152336"/>
                  </a:lnTo>
                  <a:lnTo>
                    <a:pt x="1339303" y="102590"/>
                  </a:lnTo>
                  <a:lnTo>
                    <a:pt x="1323594" y="51739"/>
                  </a:lnTo>
                  <a:lnTo>
                    <a:pt x="1308544" y="0"/>
                  </a:lnTo>
                  <a:lnTo>
                    <a:pt x="1164297" y="0"/>
                  </a:lnTo>
                  <a:lnTo>
                    <a:pt x="1376959" y="525881"/>
                  </a:lnTo>
                  <a:lnTo>
                    <a:pt x="1471587" y="525881"/>
                  </a:lnTo>
                  <a:lnTo>
                    <a:pt x="1489176" y="481304"/>
                  </a:lnTo>
                  <a:lnTo>
                    <a:pt x="1507807" y="434721"/>
                  </a:lnTo>
                  <a:lnTo>
                    <a:pt x="1527302" y="386575"/>
                  </a:lnTo>
                  <a:lnTo>
                    <a:pt x="1568107" y="287439"/>
                  </a:lnTo>
                  <a:lnTo>
                    <a:pt x="1610106" y="187553"/>
                  </a:lnTo>
                  <a:lnTo>
                    <a:pt x="1631086" y="138455"/>
                  </a:lnTo>
                  <a:lnTo>
                    <a:pt x="1651800" y="90525"/>
                  </a:lnTo>
                  <a:lnTo>
                    <a:pt x="1672069" y="44221"/>
                  </a:lnTo>
                  <a:lnTo>
                    <a:pt x="1691716" y="0"/>
                  </a:lnTo>
                  <a:close/>
                </a:path>
                <a:path w="2690495" h="526415">
                  <a:moveTo>
                    <a:pt x="2206663" y="525881"/>
                  </a:moveTo>
                  <a:lnTo>
                    <a:pt x="2173122" y="452628"/>
                  </a:lnTo>
                  <a:lnTo>
                    <a:pt x="2149487" y="400418"/>
                  </a:lnTo>
                  <a:lnTo>
                    <a:pt x="2119744" y="334340"/>
                  </a:lnTo>
                  <a:lnTo>
                    <a:pt x="2096109" y="281647"/>
                  </a:lnTo>
                  <a:lnTo>
                    <a:pt x="2068449" y="219684"/>
                  </a:lnTo>
                  <a:lnTo>
                    <a:pt x="2041944" y="159956"/>
                  </a:lnTo>
                  <a:lnTo>
                    <a:pt x="2017852" y="105283"/>
                  </a:lnTo>
                  <a:lnTo>
                    <a:pt x="1997481" y="58521"/>
                  </a:lnTo>
                  <a:lnTo>
                    <a:pt x="1985784" y="31127"/>
                  </a:lnTo>
                  <a:lnTo>
                    <a:pt x="1985784" y="332828"/>
                  </a:lnTo>
                  <a:lnTo>
                    <a:pt x="1928914" y="334213"/>
                  </a:lnTo>
                  <a:lnTo>
                    <a:pt x="1910638" y="334340"/>
                  </a:lnTo>
                  <a:lnTo>
                    <a:pt x="1891144" y="334213"/>
                  </a:lnTo>
                  <a:lnTo>
                    <a:pt x="1832495" y="332828"/>
                  </a:lnTo>
                  <a:lnTo>
                    <a:pt x="1853057" y="283984"/>
                  </a:lnTo>
                  <a:lnTo>
                    <a:pt x="1872983" y="237883"/>
                  </a:lnTo>
                  <a:lnTo>
                    <a:pt x="1892198" y="194754"/>
                  </a:lnTo>
                  <a:lnTo>
                    <a:pt x="1910638" y="154787"/>
                  </a:lnTo>
                  <a:lnTo>
                    <a:pt x="1939188" y="222097"/>
                  </a:lnTo>
                  <a:lnTo>
                    <a:pt x="1960930" y="273621"/>
                  </a:lnTo>
                  <a:lnTo>
                    <a:pt x="1985784" y="332828"/>
                  </a:lnTo>
                  <a:lnTo>
                    <a:pt x="1985784" y="31127"/>
                  </a:lnTo>
                  <a:lnTo>
                    <a:pt x="1982101" y="22491"/>
                  </a:lnTo>
                  <a:lnTo>
                    <a:pt x="1973008" y="12"/>
                  </a:lnTo>
                  <a:lnTo>
                    <a:pt x="1871535" y="12"/>
                  </a:lnTo>
                  <a:lnTo>
                    <a:pt x="1843405" y="68795"/>
                  </a:lnTo>
                  <a:lnTo>
                    <a:pt x="1821611" y="118897"/>
                  </a:lnTo>
                  <a:lnTo>
                    <a:pt x="1796427" y="175742"/>
                  </a:lnTo>
                  <a:lnTo>
                    <a:pt x="1769186" y="236499"/>
                  </a:lnTo>
                  <a:lnTo>
                    <a:pt x="1741220" y="298361"/>
                  </a:lnTo>
                  <a:lnTo>
                    <a:pt x="1724863" y="334340"/>
                  </a:lnTo>
                  <a:lnTo>
                    <a:pt x="1688452" y="414159"/>
                  </a:lnTo>
                  <a:lnTo>
                    <a:pt x="1637157" y="525881"/>
                  </a:lnTo>
                  <a:lnTo>
                    <a:pt x="1763407" y="525881"/>
                  </a:lnTo>
                  <a:lnTo>
                    <a:pt x="1782711" y="465886"/>
                  </a:lnTo>
                  <a:lnTo>
                    <a:pt x="1805457" y="401955"/>
                  </a:lnTo>
                  <a:lnTo>
                    <a:pt x="1881632" y="400558"/>
                  </a:lnTo>
                  <a:lnTo>
                    <a:pt x="1934032" y="400532"/>
                  </a:lnTo>
                  <a:lnTo>
                    <a:pt x="1939912" y="400558"/>
                  </a:lnTo>
                  <a:lnTo>
                    <a:pt x="2013572" y="401955"/>
                  </a:lnTo>
                  <a:lnTo>
                    <a:pt x="2029421" y="441706"/>
                  </a:lnTo>
                  <a:lnTo>
                    <a:pt x="2053805" y="504304"/>
                  </a:lnTo>
                  <a:lnTo>
                    <a:pt x="2061654" y="525881"/>
                  </a:lnTo>
                  <a:lnTo>
                    <a:pt x="2206663" y="525881"/>
                  </a:lnTo>
                  <a:close/>
                </a:path>
                <a:path w="2690495" h="526415">
                  <a:moveTo>
                    <a:pt x="2690418" y="449300"/>
                  </a:moveTo>
                  <a:lnTo>
                    <a:pt x="2647873" y="452589"/>
                  </a:lnTo>
                  <a:lnTo>
                    <a:pt x="2602496" y="455472"/>
                  </a:lnTo>
                  <a:lnTo>
                    <a:pt x="2552623" y="457504"/>
                  </a:lnTo>
                  <a:lnTo>
                    <a:pt x="2496566" y="458292"/>
                  </a:lnTo>
                  <a:lnTo>
                    <a:pt x="2419197" y="458292"/>
                  </a:lnTo>
                  <a:lnTo>
                    <a:pt x="2417775" y="399046"/>
                  </a:lnTo>
                  <a:lnTo>
                    <a:pt x="2416835" y="339394"/>
                  </a:lnTo>
                  <a:lnTo>
                    <a:pt x="2416327" y="287350"/>
                  </a:lnTo>
                  <a:lnTo>
                    <a:pt x="2416162" y="250926"/>
                  </a:lnTo>
                  <a:lnTo>
                    <a:pt x="2416505" y="210781"/>
                  </a:lnTo>
                  <a:lnTo>
                    <a:pt x="2417470" y="157759"/>
                  </a:lnTo>
                  <a:lnTo>
                    <a:pt x="2418931" y="99707"/>
                  </a:lnTo>
                  <a:lnTo>
                    <a:pt x="2420797" y="44513"/>
                  </a:lnTo>
                  <a:lnTo>
                    <a:pt x="2422931" y="12"/>
                  </a:lnTo>
                  <a:lnTo>
                    <a:pt x="2278684" y="12"/>
                  </a:lnTo>
                  <a:lnTo>
                    <a:pt x="2281212" y="44577"/>
                  </a:lnTo>
                  <a:lnTo>
                    <a:pt x="2283295" y="99910"/>
                  </a:lnTo>
                  <a:lnTo>
                    <a:pt x="2284869" y="158064"/>
                  </a:lnTo>
                  <a:lnTo>
                    <a:pt x="2285860" y="211061"/>
                  </a:lnTo>
                  <a:lnTo>
                    <a:pt x="2286216" y="250926"/>
                  </a:lnTo>
                  <a:lnTo>
                    <a:pt x="2286152" y="290131"/>
                  </a:lnTo>
                  <a:lnTo>
                    <a:pt x="2285733" y="346532"/>
                  </a:lnTo>
                  <a:lnTo>
                    <a:pt x="2284590" y="410832"/>
                  </a:lnTo>
                  <a:lnTo>
                    <a:pt x="2282355" y="473710"/>
                  </a:lnTo>
                  <a:lnTo>
                    <a:pt x="2278684" y="525894"/>
                  </a:lnTo>
                  <a:lnTo>
                    <a:pt x="2690418" y="525894"/>
                  </a:lnTo>
                  <a:lnTo>
                    <a:pt x="2690418" y="44930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sz="1800">
                <a:latin typeface="BNPP Sans Light" panose="02000503020000020004" pitchFamily="50" charset="0"/>
              </a:endParaRPr>
            </a:p>
          </p:txBody>
        </p:sp>
      </p:grpSp>
      <p:sp>
        <p:nvSpPr>
          <p:cNvPr id="56" name="object 17">
            <a:extLst>
              <a:ext uri="{FF2B5EF4-FFF2-40B4-BE49-F238E27FC236}">
                <a16:creationId xmlns:a16="http://schemas.microsoft.com/office/drawing/2014/main" id="{D875B128-FD22-364C-83F6-0BBB94EADCF5}"/>
              </a:ext>
            </a:extLst>
          </p:cNvPr>
          <p:cNvSpPr txBox="1"/>
          <p:nvPr/>
        </p:nvSpPr>
        <p:spPr>
          <a:xfrm>
            <a:off x="8556440" y="5894499"/>
            <a:ext cx="3333394" cy="319885"/>
          </a:xfrm>
          <a:prstGeom prst="rect">
            <a:avLst/>
          </a:prstGeom>
        </p:spPr>
        <p:txBody>
          <a:bodyPr vert="horz" wrap="square" lIns="0" tIns="12062" rIns="0" bIns="0" rtlCol="0">
            <a:spAutoFit/>
          </a:bodyPr>
          <a:lstStyle/>
          <a:p>
            <a:pPr marL="12697" algn="r">
              <a:lnSpc>
                <a:spcPct val="100000"/>
              </a:lnSpc>
              <a:spcBef>
                <a:spcPts val="95"/>
              </a:spcBef>
            </a:pPr>
            <a:r>
              <a:rPr sz="2000" spc="-30">
                <a:latin typeface="BNPP Sans Light" panose="02000503020000020004" pitchFamily="50" charset="0"/>
                <a:cs typeface="BNPP Sans"/>
              </a:rPr>
              <a:t>For </a:t>
            </a:r>
            <a:r>
              <a:rPr sz="2000" spc="-5">
                <a:latin typeface="BNPP Sans Light" panose="02000503020000020004" pitchFamily="50" charset="0"/>
                <a:cs typeface="BNPP Sans"/>
              </a:rPr>
              <a:t>the many journeys in</a:t>
            </a:r>
            <a:r>
              <a:rPr sz="2000" spc="-15">
                <a:latin typeface="BNPP Sans Light" panose="02000503020000020004" pitchFamily="50" charset="0"/>
                <a:cs typeface="BNPP Sans"/>
              </a:rPr>
              <a:t> </a:t>
            </a:r>
            <a:r>
              <a:rPr sz="2000" spc="-5">
                <a:latin typeface="BNPP Sans Light" panose="02000503020000020004" pitchFamily="50" charset="0"/>
                <a:cs typeface="BNPP Sans"/>
              </a:rPr>
              <a:t>life</a:t>
            </a:r>
            <a:endParaRPr sz="2000">
              <a:latin typeface="BNPP Sans Light" panose="02000503020000020004" pitchFamily="50" charset="0"/>
              <a:cs typeface="BNPP Sans"/>
            </a:endParaRPr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E3990B9E-7E28-3243-9C5B-24DDF6890EC1}"/>
              </a:ext>
            </a:extLst>
          </p:cNvPr>
          <p:cNvCxnSpPr/>
          <p:nvPr/>
        </p:nvCxnSpPr>
        <p:spPr>
          <a:xfrm flipH="1">
            <a:off x="0" y="5238928"/>
            <a:ext cx="12192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>
          <a:xfrm>
            <a:off x="1463922" y="4629036"/>
            <a:ext cx="4656000" cy="887713"/>
          </a:xfrm>
          <a:prstGeom prst="rect">
            <a:avLst/>
          </a:prstGeom>
          <a:solidFill>
            <a:srgbClr val="009159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429" tIns="119517" rIns="121429" bIns="1195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4329"/>
            <a:endParaRPr lang="fr-FR" sz="1300" noProof="0">
              <a:solidFill>
                <a:srgbClr val="43B02A"/>
              </a:solidFill>
              <a:latin typeface="BNPP Sans Light" panose="02000503020000020004" pitchFamily="50" charset="0"/>
            </a:endParaRPr>
          </a:p>
        </p:txBody>
      </p:sp>
      <p:sp>
        <p:nvSpPr>
          <p:cNvPr id="19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1641409" y="4775576"/>
            <a:ext cx="4224000" cy="623087"/>
          </a:xfrm>
          <a:prstGeom prst="rect">
            <a:avLst/>
          </a:prstGeom>
        </p:spPr>
        <p:txBody>
          <a:bodyPr lIns="0" tIns="45712" rIns="0" bIns="45712" anchor="ctr">
            <a:noAutofit/>
          </a:bodyPr>
          <a:lstStyle>
            <a:lvl1pPr marL="0" indent="0" algn="l">
              <a:spcBef>
                <a:spcPts val="300"/>
              </a:spcBef>
              <a:buNone/>
              <a:defRPr sz="1600" b="0" i="0" cap="all" baseline="0">
                <a:solidFill>
                  <a:schemeClr val="bg1"/>
                </a:solidFill>
                <a:latin typeface="BNPP Sans Light" panose="02000503020000020004" pitchFamily="50" charset="0"/>
              </a:defRPr>
            </a:lvl1pPr>
            <a:lvl2pPr marL="607166" indent="0">
              <a:buNone/>
              <a:defRPr sz="2699" b="1"/>
            </a:lvl2pPr>
            <a:lvl3pPr marL="1214329" indent="0">
              <a:buNone/>
              <a:defRPr sz="2400" b="1"/>
            </a:lvl3pPr>
            <a:lvl4pPr marL="1821496" indent="0">
              <a:buNone/>
              <a:defRPr sz="2100" b="1"/>
            </a:lvl4pPr>
            <a:lvl5pPr marL="2428660" indent="0">
              <a:buNone/>
              <a:defRPr sz="2100" b="1"/>
            </a:lvl5pPr>
            <a:lvl6pPr marL="3035825" indent="0">
              <a:buNone/>
              <a:defRPr sz="2100" b="1"/>
            </a:lvl6pPr>
            <a:lvl7pPr marL="3642989" indent="0">
              <a:buNone/>
              <a:defRPr sz="2100" b="1"/>
            </a:lvl7pPr>
            <a:lvl8pPr marL="4250155" indent="0">
              <a:buNone/>
              <a:defRPr sz="2100" b="1"/>
            </a:lvl8pPr>
            <a:lvl9pPr marL="4857319" indent="0">
              <a:buNone/>
              <a:defRPr sz="2100" b="1"/>
            </a:lvl9pPr>
          </a:lstStyle>
          <a:p>
            <a:r>
              <a:rPr lang="fr-FR" noProof="0" err="1"/>
              <a:t>author’s</a:t>
            </a:r>
            <a:r>
              <a:rPr lang="fr-FR" noProof="0"/>
              <a:t> </a:t>
            </a:r>
            <a:r>
              <a:rPr lang="fr-FR" noProof="0" err="1"/>
              <a:t>name</a:t>
            </a:r>
            <a:endParaRPr lang="fr-FR" noProof="0"/>
          </a:p>
          <a:p>
            <a:r>
              <a:rPr lang="fr-FR" noProof="0"/>
              <a:t>Location, Date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2541FC13-43AF-B548-9E1F-4514CEE89CDE}"/>
              </a:ext>
            </a:extLst>
          </p:cNvPr>
          <p:cNvSpPr txBox="1"/>
          <p:nvPr/>
        </p:nvSpPr>
        <p:spPr>
          <a:xfrm>
            <a:off x="12425749" y="3555177"/>
            <a:ext cx="0" cy="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algn="l"/>
            <a:endParaRPr lang="fr-FR" sz="1800">
              <a:latin typeface="BNPP Sans Light" panose="02000503020000020004" pitchFamily="50" charset="0"/>
            </a:endParaRPr>
          </a:p>
        </p:txBody>
      </p:sp>
      <p:pic>
        <p:nvPicPr>
          <p:cNvPr id="28" name="Image 27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6882" y="6315825"/>
            <a:ext cx="1152921" cy="395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3488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Foot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14"/>
          <p:cNvCxnSpPr/>
          <p:nvPr/>
        </p:nvCxnSpPr>
        <p:spPr>
          <a:xfrm>
            <a:off x="456772" y="6102440"/>
            <a:ext cx="1128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-21367" y="608224"/>
            <a:ext cx="696226" cy="0"/>
          </a:xfrm>
          <a:prstGeom prst="line">
            <a:avLst/>
          </a:prstGeom>
          <a:ln>
            <a:solidFill>
              <a:srgbClr val="0091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83250" y="163319"/>
            <a:ext cx="7104000" cy="43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2400" b="1" cap="all" spc="300" baseline="0">
                <a:solidFill>
                  <a:schemeClr val="tx2"/>
                </a:solidFill>
                <a:latin typeface="BNPP Sans Condensed" panose="02000000000000000000" pitchFamily="50" charset="0"/>
              </a:defRPr>
            </a:lvl1pPr>
            <a:lvl2pPr marL="607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4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1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29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36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4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50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58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INSERT TITLE</a:t>
            </a:r>
          </a:p>
        </p:txBody>
      </p:sp>
      <p:pic>
        <p:nvPicPr>
          <p:cNvPr id="12" name="Image 11" descr="PPT_43-06.png">
            <a:extLst>
              <a:ext uri="{FF2B5EF4-FFF2-40B4-BE49-F238E27FC236}">
                <a16:creationId xmlns:a16="http://schemas.microsoft.com/office/drawing/2014/main" id="{3685EB29-D7A6-694B-8856-D08B7EC220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3158" y="6261249"/>
            <a:ext cx="1875651" cy="433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97906" y="6401600"/>
            <a:ext cx="2396188" cy="224671"/>
          </a:xfrm>
          <a:prstGeom prst="rect">
            <a:avLst/>
          </a:prstGeom>
          <a:noFill/>
        </p:spPr>
      </p:pic>
      <p:sp>
        <p:nvSpPr>
          <p:cNvPr id="13" name="Espace réservé du numéro de diapositive 1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49834" y="6395560"/>
            <a:ext cx="24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  <a:latin typeface="BNPP Sans Light" panose="02000503020000020004" pitchFamily="50" charset="0"/>
              </a:defRPr>
            </a:lvl1pPr>
          </a:lstStyle>
          <a:p>
            <a:fld id="{8C71CAF9-4461-454A-B702-D536C3775752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24083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Foot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14"/>
          <p:cNvCxnSpPr/>
          <p:nvPr/>
        </p:nvCxnSpPr>
        <p:spPr>
          <a:xfrm>
            <a:off x="456772" y="6102440"/>
            <a:ext cx="1128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-21367" y="608224"/>
            <a:ext cx="696226" cy="0"/>
          </a:xfrm>
          <a:prstGeom prst="line">
            <a:avLst/>
          </a:prstGeom>
          <a:ln>
            <a:solidFill>
              <a:srgbClr val="0091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83250" y="163319"/>
            <a:ext cx="7104000" cy="43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lang="en-GB" sz="2400" b="1" kern="1200" cap="all" spc="300" baseline="0" noProof="0">
                <a:solidFill>
                  <a:schemeClr val="tx2"/>
                </a:solidFill>
                <a:latin typeface="BNPP Sans Condensed" panose="02000000000000000000" pitchFamily="50" charset="0"/>
                <a:ea typeface="+mn-ea"/>
                <a:cs typeface="+mn-cs"/>
              </a:defRPr>
            </a:lvl1pPr>
            <a:lvl2pPr marL="607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4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1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29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36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4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50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58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INSERT TITLE</a:t>
            </a:r>
          </a:p>
        </p:txBody>
      </p:sp>
      <p:pic>
        <p:nvPicPr>
          <p:cNvPr id="12" name="Image 11" descr="PPT_43-06.png">
            <a:extLst>
              <a:ext uri="{FF2B5EF4-FFF2-40B4-BE49-F238E27FC236}">
                <a16:creationId xmlns:a16="http://schemas.microsoft.com/office/drawing/2014/main" id="{3685EB29-D7A6-694B-8856-D08B7EC220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3158" y="6261249"/>
            <a:ext cx="1875651" cy="433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97906" y="6401600"/>
            <a:ext cx="2396188" cy="224671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Espace réservé du numéro de diapositive 1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49834" y="6395560"/>
            <a:ext cx="24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  <a:latin typeface="BNPP Sans Light" panose="02000503020000020004" pitchFamily="50" charset="0"/>
              </a:defRPr>
            </a:lvl1pPr>
          </a:lstStyle>
          <a:p>
            <a:fld id="{8C71CAF9-4461-454A-B702-D536C3775752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00510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36E536CB-251C-77C0-B57E-1AEBF2F5E57E}"/>
              </a:ext>
            </a:extLst>
          </p:cNvPr>
          <p:cNvCxnSpPr/>
          <p:nvPr userDrawn="1"/>
        </p:nvCxnSpPr>
        <p:spPr>
          <a:xfrm>
            <a:off x="8967019" y="314632"/>
            <a:ext cx="0" cy="596818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Espace réservé du titre 1">
            <a:extLst>
              <a:ext uri="{FF2B5EF4-FFF2-40B4-BE49-F238E27FC236}">
                <a16:creationId xmlns:a16="http://schemas.microsoft.com/office/drawing/2014/main" id="{39545673-F5C0-563C-4E70-A8FFE5F0E8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2016000"/>
            <a:ext cx="4698059" cy="36933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fr-FR" err="1"/>
              <a:t>Title</a:t>
            </a:r>
            <a:endParaRPr lang="en-GB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AAE66CCE-D3BA-FB85-6138-BCA60ACF3B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139" y="2304000"/>
            <a:ext cx="4698436" cy="877163"/>
          </a:xfrm>
        </p:spPr>
        <p:txBody>
          <a:bodyPr/>
          <a:lstStyle>
            <a:lvl1pPr>
              <a:spcAft>
                <a:spcPts val="1800"/>
              </a:spcAft>
              <a:defRPr/>
            </a:lvl1pPr>
            <a:lvl2pPr>
              <a:defRPr/>
            </a:lvl2pPr>
          </a:lstStyle>
          <a:p>
            <a:pPr lvl="0"/>
            <a:r>
              <a:rPr lang="fr-FR" err="1"/>
              <a:t>Sub-title</a:t>
            </a:r>
            <a:endParaRPr lang="fr-FR"/>
          </a:p>
          <a:p>
            <a:pPr lvl="1"/>
            <a:r>
              <a:rPr lang="fr-FR" err="1"/>
              <a:t>Text</a:t>
            </a:r>
            <a:endParaRPr lang="fr-FR"/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477B7B38-0E39-25D6-23B7-8D808E72DCC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139" y="468000"/>
            <a:ext cx="4698436" cy="307777"/>
          </a:xfrm>
        </p:spPr>
        <p:txBody>
          <a:bodyPr/>
          <a:lstStyle>
            <a:lvl1pPr>
              <a:spcAft>
                <a:spcPts val="0"/>
              </a:spcAft>
              <a:defRPr sz="2000" cap="all" baseline="0">
                <a:solidFill>
                  <a:schemeClr val="accent1"/>
                </a:solidFill>
                <a:latin typeface="BNPP Sans Condensed" panose="02000000000000000000" pitchFamily="2" charset="0"/>
              </a:defRPr>
            </a:lvl1pPr>
            <a:lvl2pPr>
              <a:defRPr/>
            </a:lvl2pPr>
          </a:lstStyle>
          <a:p>
            <a:pPr lvl="0"/>
            <a:r>
              <a:rPr lang="fr-FR" err="1"/>
              <a:t>Chapter</a:t>
            </a:r>
            <a:r>
              <a:rPr lang="fr-FR"/>
              <a:t> </a:t>
            </a:r>
            <a:r>
              <a:rPr lang="fr-FR" err="1"/>
              <a:t>title</a:t>
            </a:r>
            <a:r>
              <a:rPr lang="fr-FR"/>
              <a:t> on one line</a:t>
            </a:r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C87D0913-1310-676A-63BE-A46623D7BC2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831264" y="2929701"/>
            <a:ext cx="288000" cy="288000"/>
          </a:xfrm>
          <a:solidFill>
            <a:schemeClr val="accent5"/>
          </a:solidFill>
        </p:spPr>
        <p:txBody>
          <a:bodyPr anchor="ctr" anchorCtr="0">
            <a:noAutofit/>
          </a:bodyPr>
          <a:lstStyle>
            <a:lvl1pPr algn="ctr">
              <a:defRPr sz="100">
                <a:solidFill>
                  <a:schemeClr val="accent5"/>
                </a:solidFill>
                <a:latin typeface="BNPP Sans Condensed" panose="020000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7" name="Espace réservé du texte 12">
            <a:extLst>
              <a:ext uri="{FF2B5EF4-FFF2-40B4-BE49-F238E27FC236}">
                <a16:creationId xmlns:a16="http://schemas.microsoft.com/office/drawing/2014/main" id="{FEA8D728-332E-25C7-178A-6909BE9B03E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47543" y="2929699"/>
            <a:ext cx="1548276" cy="538609"/>
          </a:xfrm>
        </p:spPr>
        <p:txBody>
          <a:bodyPr/>
          <a:lstStyle>
            <a:lvl1pPr>
              <a:spcAft>
                <a:spcPts val="0"/>
              </a:spcAft>
              <a:defRPr sz="2200" b="1">
                <a:solidFill>
                  <a:schemeClr val="accent5"/>
                </a:solidFill>
                <a:latin typeface="BNPP Sans Condensed" panose="02000000000000000000" pitchFamily="2" charset="0"/>
              </a:defRPr>
            </a:lvl1pPr>
            <a:lvl2pPr>
              <a:defRPr sz="1300"/>
            </a:lvl2pPr>
          </a:lstStyle>
          <a:p>
            <a:pPr lvl="0"/>
            <a:r>
              <a:rPr lang="fr-FR"/>
              <a:t>Date</a:t>
            </a:r>
          </a:p>
          <a:p>
            <a:pPr lvl="1"/>
            <a:r>
              <a:rPr lang="fr-FR" err="1"/>
              <a:t>Text</a:t>
            </a:r>
            <a:endParaRPr lang="fr-FR"/>
          </a:p>
        </p:txBody>
      </p:sp>
      <p:sp>
        <p:nvSpPr>
          <p:cNvPr id="10" name="Espace réservé pour une image  5">
            <a:extLst>
              <a:ext uri="{FF2B5EF4-FFF2-40B4-BE49-F238E27FC236}">
                <a16:creationId xmlns:a16="http://schemas.microsoft.com/office/drawing/2014/main" id="{81DBAB01-3ADF-0A5A-29F1-DE05A714D8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31264" y="1786667"/>
            <a:ext cx="288000" cy="288000"/>
          </a:xfrm>
          <a:solidFill>
            <a:schemeClr val="accent6"/>
          </a:solidFill>
        </p:spPr>
        <p:txBody>
          <a:bodyPr anchor="ctr" anchorCtr="0">
            <a:noAutofit/>
          </a:bodyPr>
          <a:lstStyle>
            <a:lvl1pPr algn="ctr">
              <a:defRPr sz="100">
                <a:solidFill>
                  <a:schemeClr val="accent6"/>
                </a:solidFill>
                <a:latin typeface="BNPP Sans Condensed" panose="020000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12" name="Espace réservé du texte 12">
            <a:extLst>
              <a:ext uri="{FF2B5EF4-FFF2-40B4-BE49-F238E27FC236}">
                <a16:creationId xmlns:a16="http://schemas.microsoft.com/office/drawing/2014/main" id="{FC6ED884-515D-9ECB-F78D-ABDBDF1910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23769" y="1799187"/>
            <a:ext cx="1548276" cy="538609"/>
          </a:xfrm>
        </p:spPr>
        <p:txBody>
          <a:bodyPr/>
          <a:lstStyle>
            <a:lvl1pPr algn="r">
              <a:spcAft>
                <a:spcPts val="0"/>
              </a:spcAft>
              <a:defRPr sz="2200" b="1">
                <a:solidFill>
                  <a:schemeClr val="accent6"/>
                </a:solidFill>
                <a:latin typeface="BNPP Sans Condensed" panose="02000000000000000000" pitchFamily="2" charset="0"/>
              </a:defRPr>
            </a:lvl1pPr>
            <a:lvl2pPr algn="r">
              <a:defRPr sz="1300"/>
            </a:lvl2pPr>
          </a:lstStyle>
          <a:p>
            <a:pPr lvl="0"/>
            <a:r>
              <a:rPr lang="fr-FR"/>
              <a:t>Date</a:t>
            </a:r>
          </a:p>
          <a:p>
            <a:pPr lvl="1"/>
            <a:r>
              <a:rPr lang="fr-FR" err="1"/>
              <a:t>Text</a:t>
            </a:r>
            <a:endParaRPr lang="fr-FR"/>
          </a:p>
        </p:txBody>
      </p:sp>
      <p:sp>
        <p:nvSpPr>
          <p:cNvPr id="17" name="Espace réservé pour une image  5">
            <a:extLst>
              <a:ext uri="{FF2B5EF4-FFF2-40B4-BE49-F238E27FC236}">
                <a16:creationId xmlns:a16="http://schemas.microsoft.com/office/drawing/2014/main" id="{0FB6570E-DB0F-EE51-E869-710362F7F6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831264" y="698818"/>
            <a:ext cx="288000" cy="288000"/>
          </a:xfrm>
          <a:solidFill>
            <a:schemeClr val="accent1"/>
          </a:solidFill>
        </p:spPr>
        <p:txBody>
          <a:bodyPr anchor="ctr" anchorCtr="0">
            <a:noAutofit/>
          </a:bodyPr>
          <a:lstStyle>
            <a:lvl1pPr algn="ctr">
              <a:defRPr sz="100">
                <a:solidFill>
                  <a:schemeClr val="accent1"/>
                </a:solidFill>
                <a:latin typeface="BNPP Sans Condensed" panose="020000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18" name="Espace réservé du texte 12">
            <a:extLst>
              <a:ext uri="{FF2B5EF4-FFF2-40B4-BE49-F238E27FC236}">
                <a16:creationId xmlns:a16="http://schemas.microsoft.com/office/drawing/2014/main" id="{D4EFA88E-4E5A-3B31-8ADE-D55E80BB15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247543" y="705958"/>
            <a:ext cx="1548276" cy="538609"/>
          </a:xfrm>
        </p:spPr>
        <p:txBody>
          <a:bodyPr/>
          <a:lstStyle>
            <a:lvl1pPr>
              <a:spcAft>
                <a:spcPts val="0"/>
              </a:spcAft>
              <a:defRPr sz="2200" b="1">
                <a:solidFill>
                  <a:schemeClr val="accent1"/>
                </a:solidFill>
                <a:latin typeface="BNPP Sans Condensed" panose="02000000000000000000" pitchFamily="2" charset="0"/>
              </a:defRPr>
            </a:lvl1pPr>
            <a:lvl2pPr>
              <a:defRPr sz="1300"/>
            </a:lvl2pPr>
          </a:lstStyle>
          <a:p>
            <a:pPr lvl="0"/>
            <a:r>
              <a:rPr lang="fr-FR"/>
              <a:t>Date</a:t>
            </a:r>
          </a:p>
          <a:p>
            <a:pPr lvl="1"/>
            <a:r>
              <a:rPr lang="fr-FR" err="1"/>
              <a:t>Text</a:t>
            </a:r>
            <a:endParaRPr lang="fr-FR"/>
          </a:p>
        </p:txBody>
      </p:sp>
      <p:sp>
        <p:nvSpPr>
          <p:cNvPr id="21" name="Espace réservé pour une image  5">
            <a:extLst>
              <a:ext uri="{FF2B5EF4-FFF2-40B4-BE49-F238E27FC236}">
                <a16:creationId xmlns:a16="http://schemas.microsoft.com/office/drawing/2014/main" id="{5C586F79-E72A-5A4F-A567-F5567025A5F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831264" y="5192635"/>
            <a:ext cx="288000" cy="288000"/>
          </a:xfrm>
          <a:solidFill>
            <a:srgbClr val="3B3BDB"/>
          </a:solidFill>
        </p:spPr>
        <p:txBody>
          <a:bodyPr anchor="ctr" anchorCtr="0">
            <a:noAutofit/>
          </a:bodyPr>
          <a:lstStyle>
            <a:lvl1pPr algn="ctr">
              <a:defRPr sz="100">
                <a:solidFill>
                  <a:srgbClr val="3B3BDB"/>
                </a:solidFill>
                <a:latin typeface="BNPP Sans Condensed" panose="020000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22" name="Espace réservé du texte 12">
            <a:extLst>
              <a:ext uri="{FF2B5EF4-FFF2-40B4-BE49-F238E27FC236}">
                <a16:creationId xmlns:a16="http://schemas.microsoft.com/office/drawing/2014/main" id="{44F68470-4E0E-9ED9-AEA5-D3FAB415231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47543" y="5202159"/>
            <a:ext cx="1548276" cy="538609"/>
          </a:xfrm>
        </p:spPr>
        <p:txBody>
          <a:bodyPr/>
          <a:lstStyle>
            <a:lvl1pPr>
              <a:spcAft>
                <a:spcPts val="0"/>
              </a:spcAft>
              <a:defRPr sz="2200" b="1">
                <a:solidFill>
                  <a:srgbClr val="3B3BDB"/>
                </a:solidFill>
                <a:latin typeface="BNPP Sans Condensed" panose="02000000000000000000" pitchFamily="2" charset="0"/>
              </a:defRPr>
            </a:lvl1pPr>
            <a:lvl2pPr>
              <a:defRPr sz="1300"/>
            </a:lvl2pPr>
          </a:lstStyle>
          <a:p>
            <a:pPr lvl="0"/>
            <a:r>
              <a:rPr lang="fr-FR"/>
              <a:t>Date</a:t>
            </a:r>
          </a:p>
          <a:p>
            <a:pPr lvl="1"/>
            <a:r>
              <a:rPr lang="fr-FR" err="1"/>
              <a:t>Text</a:t>
            </a:r>
            <a:endParaRPr lang="fr-FR"/>
          </a:p>
        </p:txBody>
      </p:sp>
      <p:sp>
        <p:nvSpPr>
          <p:cNvPr id="23" name="Espace réservé pour une image  5">
            <a:extLst>
              <a:ext uri="{FF2B5EF4-FFF2-40B4-BE49-F238E27FC236}">
                <a16:creationId xmlns:a16="http://schemas.microsoft.com/office/drawing/2014/main" id="{791069A1-A299-0DF4-02D0-ED59D5B7844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831264" y="4049601"/>
            <a:ext cx="288000" cy="288000"/>
          </a:xfrm>
          <a:solidFill>
            <a:srgbClr val="00BEF3"/>
          </a:solidFill>
        </p:spPr>
        <p:txBody>
          <a:bodyPr anchor="ctr" anchorCtr="0">
            <a:noAutofit/>
          </a:bodyPr>
          <a:lstStyle>
            <a:lvl1pPr algn="ctr">
              <a:defRPr sz="100">
                <a:solidFill>
                  <a:srgbClr val="00BEF3"/>
                </a:solidFill>
                <a:latin typeface="BNPP Sans Condensed" panose="02000000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24" name="Espace réservé du texte 12">
            <a:extLst>
              <a:ext uri="{FF2B5EF4-FFF2-40B4-BE49-F238E27FC236}">
                <a16:creationId xmlns:a16="http://schemas.microsoft.com/office/drawing/2014/main" id="{A7FD8F63-CB47-6307-564D-B10F93D5B48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23769" y="4054974"/>
            <a:ext cx="1548276" cy="538609"/>
          </a:xfrm>
        </p:spPr>
        <p:txBody>
          <a:bodyPr/>
          <a:lstStyle>
            <a:lvl1pPr algn="r">
              <a:spcAft>
                <a:spcPts val="0"/>
              </a:spcAft>
              <a:defRPr sz="2200" b="1">
                <a:solidFill>
                  <a:srgbClr val="00BEF3"/>
                </a:solidFill>
                <a:latin typeface="BNPP Sans Condensed" panose="02000000000000000000" pitchFamily="2" charset="0"/>
              </a:defRPr>
            </a:lvl1pPr>
            <a:lvl2pPr algn="r">
              <a:defRPr sz="1300"/>
            </a:lvl2pPr>
          </a:lstStyle>
          <a:p>
            <a:pPr lvl="0"/>
            <a:r>
              <a:rPr lang="fr-FR"/>
              <a:t>Date</a:t>
            </a:r>
          </a:p>
          <a:p>
            <a:pPr lvl="1"/>
            <a:r>
              <a:rPr lang="fr-FR" err="1"/>
              <a:t>Tex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2645764"/>
      </p:ext>
    </p:extLst>
  </p:cSld>
  <p:clrMapOvr>
    <a:masterClrMapping/>
  </p:clrMapOvr>
  <p:transition spd="slow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Foot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14"/>
          <p:cNvCxnSpPr/>
          <p:nvPr/>
        </p:nvCxnSpPr>
        <p:spPr>
          <a:xfrm>
            <a:off x="456772" y="6102440"/>
            <a:ext cx="1128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-21367" y="608224"/>
            <a:ext cx="696226" cy="0"/>
          </a:xfrm>
          <a:prstGeom prst="line">
            <a:avLst/>
          </a:prstGeom>
          <a:ln>
            <a:solidFill>
              <a:srgbClr val="0091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83250" y="163319"/>
            <a:ext cx="7104000" cy="43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1211636" rtl="0" eaLnBrk="1" latinLnBrk="0" hangingPunct="1">
              <a:spcBef>
                <a:spcPts val="266"/>
              </a:spcBef>
              <a:buClr>
                <a:schemeClr val="accent4"/>
              </a:buClr>
              <a:buSzPct val="100000"/>
              <a:buFontTx/>
              <a:buNone/>
              <a:defRPr lang="en-GB" sz="2400" b="1" kern="1200" cap="all" spc="300" baseline="0" noProof="0" dirty="0">
                <a:solidFill>
                  <a:schemeClr val="tx2"/>
                </a:solidFill>
                <a:latin typeface="BNPP Sans Condensed" panose="02000000000000000000" pitchFamily="50" charset="0"/>
                <a:ea typeface="+mn-ea"/>
                <a:cs typeface="+mn-cs"/>
              </a:defRPr>
            </a:lvl1pPr>
            <a:lvl2pPr marL="607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4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1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29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36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4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50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58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INSERT TITLE</a:t>
            </a:r>
          </a:p>
        </p:txBody>
      </p:sp>
      <p:pic>
        <p:nvPicPr>
          <p:cNvPr id="12" name="Image 11" descr="PPT_43-06.png">
            <a:extLst>
              <a:ext uri="{FF2B5EF4-FFF2-40B4-BE49-F238E27FC236}">
                <a16:creationId xmlns:a16="http://schemas.microsoft.com/office/drawing/2014/main" id="{3685EB29-D7A6-694B-8856-D08B7EC220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3158" y="6261249"/>
            <a:ext cx="1875651" cy="433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97906" y="6401600"/>
            <a:ext cx="2396188" cy="224671"/>
          </a:xfrm>
          <a:prstGeom prst="rect">
            <a:avLst/>
          </a:prstGeom>
          <a:noFill/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DFCFCC0-52A1-C040-9A48-16D88BEABC2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6772" y="901345"/>
            <a:ext cx="11280000" cy="490193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1636" rtl="0" eaLnBrk="1" latinLnBrk="0" hangingPunct="1"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None/>
              <a:defRPr lang="fr-FR" sz="2000" b="0" kern="1200" baseline="0" noProof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BNPP Sans Light" panose="02000503020000020004" pitchFamily="50" charset="0"/>
                <a:ea typeface="+mn-ea"/>
                <a:cs typeface="+mn-cs"/>
              </a:defRPr>
            </a:lvl1pPr>
            <a:lvl2pPr marL="285693" indent="-285693">
              <a:spcBef>
                <a:spcPts val="600"/>
              </a:spcBef>
              <a:spcAft>
                <a:spcPts val="600"/>
              </a:spcAft>
              <a:buClr>
                <a:srgbClr val="00A091"/>
              </a:buClr>
              <a:buFont typeface="Wingdings" panose="05000000000000000000" pitchFamily="2" charset="2"/>
              <a:buChar char="v"/>
              <a:defRPr lang="en-US" sz="20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BNPP Sans Light" panose="02000503020000020004" pitchFamily="50" charset="0"/>
                <a:ea typeface="+mn-ea"/>
                <a:cs typeface="+mn-cs"/>
              </a:defRPr>
            </a:lvl2pPr>
            <a:lvl3pPr marL="698360" indent="-342831">
              <a:spcBef>
                <a:spcPts val="300"/>
              </a:spcBef>
              <a:spcAft>
                <a:spcPts val="600"/>
              </a:spcAft>
              <a:buClr>
                <a:srgbClr val="00A091"/>
              </a:buClr>
              <a:buSzPct val="100000"/>
              <a:buFont typeface="Arial" panose="020B0604020202020204" pitchFamily="34" charset="0"/>
              <a:buChar char="•"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  <a:latin typeface="BNPP Sans Light" panose="02000503020000020004" pitchFamily="50" charset="0"/>
              </a:defRPr>
            </a:lvl3pPr>
            <a:lvl4pPr marL="893583" indent="-171416">
              <a:spcBef>
                <a:spcPts val="300"/>
              </a:spcBef>
              <a:buClr>
                <a:srgbClr val="00A091"/>
              </a:buClr>
              <a:buFont typeface="Courier New" panose="02070309020205020404" pitchFamily="49" charset="0"/>
              <a:buChar char="o"/>
              <a:defRPr lang="en-US" sz="1400" b="0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BNPPSans-Light" panose="02000503020000020004" pitchFamily="2" charset="0"/>
                <a:ea typeface="+mn-ea"/>
                <a:cs typeface="+mn-cs"/>
              </a:defRPr>
            </a:lvl4pPr>
            <a:lvl5pPr marL="524145" indent="0">
              <a:spcBef>
                <a:spcPts val="1200"/>
              </a:spcBef>
              <a:buFontTx/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638422" indent="0">
              <a:spcBef>
                <a:spcPts val="0"/>
              </a:spcBef>
              <a:buClr>
                <a:schemeClr val="bg1"/>
              </a:buClr>
              <a:buFontTx/>
              <a:buNone/>
              <a:defRPr lang="en-US" sz="14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fr-FR" noProof="0" err="1"/>
              <a:t>Text</a:t>
            </a:r>
            <a:endParaRPr lang="fr-FR" noProof="0"/>
          </a:p>
          <a:p>
            <a:pPr lvl="1"/>
            <a:r>
              <a:rPr lang="fr-FR" noProof="0"/>
              <a:t>Text1</a:t>
            </a:r>
          </a:p>
          <a:p>
            <a:pPr lvl="1"/>
            <a:r>
              <a:rPr lang="fr-FR" noProof="0"/>
              <a:t>Text1</a:t>
            </a:r>
          </a:p>
          <a:p>
            <a:pPr lvl="2"/>
            <a:r>
              <a:rPr lang="fr-FR" noProof="0" err="1"/>
              <a:t>Text</a:t>
            </a:r>
            <a:r>
              <a:rPr lang="fr-FR" noProof="0"/>
              <a:t> 2</a:t>
            </a:r>
          </a:p>
          <a:p>
            <a:pPr lvl="2"/>
            <a:r>
              <a:rPr lang="fr-FR" noProof="0" err="1"/>
              <a:t>Text</a:t>
            </a:r>
            <a:r>
              <a:rPr lang="fr-FR" noProof="0"/>
              <a:t> 2</a:t>
            </a:r>
          </a:p>
          <a:p>
            <a:pPr lvl="3"/>
            <a:r>
              <a:rPr lang="fr-FR" noProof="0" err="1"/>
              <a:t>Text</a:t>
            </a:r>
            <a:r>
              <a:rPr lang="fr-FR" noProof="0"/>
              <a:t> 3</a:t>
            </a:r>
          </a:p>
          <a:p>
            <a:pPr lvl="3"/>
            <a:r>
              <a:rPr lang="fr-FR" noProof="0" err="1"/>
              <a:t>Text</a:t>
            </a:r>
            <a:r>
              <a:rPr lang="fr-FR" noProof="0"/>
              <a:t> 3</a:t>
            </a:r>
          </a:p>
          <a:p>
            <a:pPr lvl="3"/>
            <a:endParaRPr lang="fr-FR" noProof="0"/>
          </a:p>
          <a:p>
            <a:pPr lvl="1"/>
            <a:endParaRPr lang="fr-FR" noProof="0"/>
          </a:p>
          <a:p>
            <a:pPr lvl="1"/>
            <a:endParaRPr lang="fr-FR" noProof="0"/>
          </a:p>
          <a:p>
            <a:pPr lvl="1"/>
            <a:endParaRPr lang="fr-FR" noProof="0"/>
          </a:p>
        </p:txBody>
      </p:sp>
      <p:sp>
        <p:nvSpPr>
          <p:cNvPr id="17" name="Espace réservé du numéro de diapositive 1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49834" y="6395560"/>
            <a:ext cx="24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  <a:latin typeface="BNPP Sans Light" panose="02000503020000020004" pitchFamily="50" charset="0"/>
              </a:defRPr>
            </a:lvl1pPr>
          </a:lstStyle>
          <a:p>
            <a:fld id="{8C71CAF9-4461-454A-B702-D536C3775752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30968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ONE 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955" y="5082369"/>
            <a:ext cx="12191045" cy="1775632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429" tIns="119517" rIns="121429" bIns="1195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4329"/>
            <a:endParaRPr lang="fr-FR" sz="1900" noProof="0">
              <a:solidFill>
                <a:srgbClr val="000000"/>
              </a:solidFill>
            </a:endParaRPr>
          </a:p>
        </p:txBody>
      </p:sp>
      <p:grpSp>
        <p:nvGrpSpPr>
          <p:cNvPr id="37" name="Groupe 36">
            <a:extLst>
              <a:ext uri="{FF2B5EF4-FFF2-40B4-BE49-F238E27FC236}">
                <a16:creationId xmlns:a16="http://schemas.microsoft.com/office/drawing/2014/main" id="{F59B009B-FE4C-B441-96D1-0EC131CA52AA}"/>
              </a:ext>
            </a:extLst>
          </p:cNvPr>
          <p:cNvGrpSpPr/>
          <p:nvPr/>
        </p:nvGrpSpPr>
        <p:grpSpPr>
          <a:xfrm>
            <a:off x="409817" y="5669999"/>
            <a:ext cx="3416810" cy="784307"/>
            <a:chOff x="527050" y="9259554"/>
            <a:chExt cx="5824557" cy="1345006"/>
          </a:xfrm>
        </p:grpSpPr>
        <p:sp>
          <p:nvSpPr>
            <p:cNvPr id="38" name="object 36">
              <a:extLst>
                <a:ext uri="{FF2B5EF4-FFF2-40B4-BE49-F238E27FC236}">
                  <a16:creationId xmlns:a16="http://schemas.microsoft.com/office/drawing/2014/main" id="{B148BA60-EFEE-5C4F-BE92-482E8257290F}"/>
                </a:ext>
              </a:extLst>
            </p:cNvPr>
            <p:cNvSpPr/>
            <p:nvPr/>
          </p:nvSpPr>
          <p:spPr>
            <a:xfrm>
              <a:off x="527050" y="9259554"/>
              <a:ext cx="1344995" cy="1345006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39" name="object 37">
              <a:extLst>
                <a:ext uri="{FF2B5EF4-FFF2-40B4-BE49-F238E27FC236}">
                  <a16:creationId xmlns:a16="http://schemas.microsoft.com/office/drawing/2014/main" id="{77764551-03EC-C24F-8C39-5ECC917DA1E3}"/>
                </a:ext>
              </a:extLst>
            </p:cNvPr>
            <p:cNvSpPr/>
            <p:nvPr/>
          </p:nvSpPr>
          <p:spPr>
            <a:xfrm>
              <a:off x="656826" y="10038923"/>
              <a:ext cx="311173" cy="374815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40" name="object 38">
              <a:extLst>
                <a:ext uri="{FF2B5EF4-FFF2-40B4-BE49-F238E27FC236}">
                  <a16:creationId xmlns:a16="http://schemas.microsoft.com/office/drawing/2014/main" id="{87D2EB5F-CBAD-6B40-80CF-ABDEC5BBC197}"/>
                </a:ext>
              </a:extLst>
            </p:cNvPr>
            <p:cNvSpPr/>
            <p:nvPr/>
          </p:nvSpPr>
          <p:spPr>
            <a:xfrm>
              <a:off x="746918" y="9408785"/>
              <a:ext cx="973677" cy="591385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41" name="object 39">
              <a:extLst>
                <a:ext uri="{FF2B5EF4-FFF2-40B4-BE49-F238E27FC236}">
                  <a16:creationId xmlns:a16="http://schemas.microsoft.com/office/drawing/2014/main" id="{F1A071DD-FF41-EA42-96F7-CE6003CEE618}"/>
                </a:ext>
              </a:extLst>
            </p:cNvPr>
            <p:cNvSpPr/>
            <p:nvPr/>
          </p:nvSpPr>
          <p:spPr>
            <a:xfrm>
              <a:off x="1039139" y="10249178"/>
              <a:ext cx="290682" cy="192590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42" name="object 40">
              <a:extLst>
                <a:ext uri="{FF2B5EF4-FFF2-40B4-BE49-F238E27FC236}">
                  <a16:creationId xmlns:a16="http://schemas.microsoft.com/office/drawing/2014/main" id="{8B4B82F2-1356-D44B-BBB8-1BCD10ECC73A}"/>
                </a:ext>
              </a:extLst>
            </p:cNvPr>
            <p:cNvSpPr/>
            <p:nvPr/>
          </p:nvSpPr>
          <p:spPr>
            <a:xfrm>
              <a:off x="660988" y="9408787"/>
              <a:ext cx="1064895" cy="1024255"/>
            </a:xfrm>
            <a:custGeom>
              <a:avLst/>
              <a:gdLst/>
              <a:ahLst/>
              <a:cxnLst/>
              <a:rect l="l" t="t" r="r" b="b"/>
              <a:pathLst>
                <a:path w="1064895" h="1024254">
                  <a:moveTo>
                    <a:pt x="306997" y="931722"/>
                  </a:moveTo>
                  <a:lnTo>
                    <a:pt x="273469" y="917727"/>
                  </a:lnTo>
                  <a:lnTo>
                    <a:pt x="243357" y="901534"/>
                  </a:lnTo>
                  <a:lnTo>
                    <a:pt x="215099" y="882040"/>
                  </a:lnTo>
                  <a:lnTo>
                    <a:pt x="187134" y="858126"/>
                  </a:lnTo>
                  <a:lnTo>
                    <a:pt x="196024" y="835736"/>
                  </a:lnTo>
                  <a:lnTo>
                    <a:pt x="206133" y="814628"/>
                  </a:lnTo>
                  <a:lnTo>
                    <a:pt x="218059" y="793521"/>
                  </a:lnTo>
                  <a:lnTo>
                    <a:pt x="232448" y="771118"/>
                  </a:lnTo>
                  <a:lnTo>
                    <a:pt x="180060" y="779157"/>
                  </a:lnTo>
                  <a:lnTo>
                    <a:pt x="156070" y="783170"/>
                  </a:lnTo>
                  <a:lnTo>
                    <a:pt x="131673" y="787603"/>
                  </a:lnTo>
                  <a:lnTo>
                    <a:pt x="113817" y="751916"/>
                  </a:lnTo>
                  <a:lnTo>
                    <a:pt x="99987" y="715010"/>
                  </a:lnTo>
                  <a:lnTo>
                    <a:pt x="88658" y="675030"/>
                  </a:lnTo>
                  <a:lnTo>
                    <a:pt x="78295" y="630135"/>
                  </a:lnTo>
                  <a:lnTo>
                    <a:pt x="73723" y="677710"/>
                  </a:lnTo>
                  <a:lnTo>
                    <a:pt x="71602" y="720369"/>
                  </a:lnTo>
                  <a:lnTo>
                    <a:pt x="72656" y="760425"/>
                  </a:lnTo>
                  <a:lnTo>
                    <a:pt x="77647" y="800201"/>
                  </a:lnTo>
                  <a:lnTo>
                    <a:pt x="56121" y="806475"/>
                  </a:lnTo>
                  <a:lnTo>
                    <a:pt x="36779" y="812825"/>
                  </a:lnTo>
                  <a:lnTo>
                    <a:pt x="18465" y="819683"/>
                  </a:lnTo>
                  <a:lnTo>
                    <a:pt x="0" y="827544"/>
                  </a:lnTo>
                  <a:lnTo>
                    <a:pt x="25539" y="842949"/>
                  </a:lnTo>
                  <a:lnTo>
                    <a:pt x="50177" y="857123"/>
                  </a:lnTo>
                  <a:lnTo>
                    <a:pt x="75577" y="870673"/>
                  </a:lnTo>
                  <a:lnTo>
                    <a:pt x="103416" y="884250"/>
                  </a:lnTo>
                  <a:lnTo>
                    <a:pt x="119672" y="915924"/>
                  </a:lnTo>
                  <a:lnTo>
                    <a:pt x="137401" y="943838"/>
                  </a:lnTo>
                  <a:lnTo>
                    <a:pt x="157822" y="969797"/>
                  </a:lnTo>
                  <a:lnTo>
                    <a:pt x="182156" y="995578"/>
                  </a:lnTo>
                  <a:lnTo>
                    <a:pt x="177050" y="974115"/>
                  </a:lnTo>
                  <a:lnTo>
                    <a:pt x="174193" y="953655"/>
                  </a:lnTo>
                  <a:lnTo>
                    <a:pt x="173532" y="932916"/>
                  </a:lnTo>
                  <a:lnTo>
                    <a:pt x="175031" y="910602"/>
                  </a:lnTo>
                  <a:lnTo>
                    <a:pt x="207213" y="919124"/>
                  </a:lnTo>
                  <a:lnTo>
                    <a:pt x="238772" y="925423"/>
                  </a:lnTo>
                  <a:lnTo>
                    <a:pt x="271449" y="929589"/>
                  </a:lnTo>
                  <a:lnTo>
                    <a:pt x="306997" y="931722"/>
                  </a:lnTo>
                  <a:close/>
                </a:path>
                <a:path w="1064895" h="1024254">
                  <a:moveTo>
                    <a:pt x="615988" y="409270"/>
                  </a:moveTo>
                  <a:lnTo>
                    <a:pt x="598665" y="399148"/>
                  </a:lnTo>
                  <a:lnTo>
                    <a:pt x="551307" y="375627"/>
                  </a:lnTo>
                  <a:lnTo>
                    <a:pt x="480910" y="348996"/>
                  </a:lnTo>
                  <a:lnTo>
                    <a:pt x="394436" y="329514"/>
                  </a:lnTo>
                  <a:lnTo>
                    <a:pt x="400062" y="313918"/>
                  </a:lnTo>
                  <a:lnTo>
                    <a:pt x="408990" y="294474"/>
                  </a:lnTo>
                  <a:lnTo>
                    <a:pt x="419823" y="274561"/>
                  </a:lnTo>
                  <a:lnTo>
                    <a:pt x="431177" y="257530"/>
                  </a:lnTo>
                  <a:lnTo>
                    <a:pt x="407885" y="264287"/>
                  </a:lnTo>
                  <a:lnTo>
                    <a:pt x="374865" y="278472"/>
                  </a:lnTo>
                  <a:lnTo>
                    <a:pt x="338099" y="298259"/>
                  </a:lnTo>
                  <a:lnTo>
                    <a:pt x="303542" y="321818"/>
                  </a:lnTo>
                  <a:lnTo>
                    <a:pt x="283425" y="320662"/>
                  </a:lnTo>
                  <a:lnTo>
                    <a:pt x="259664" y="320154"/>
                  </a:lnTo>
                  <a:lnTo>
                    <a:pt x="228015" y="320522"/>
                  </a:lnTo>
                  <a:lnTo>
                    <a:pt x="190906" y="323684"/>
                  </a:lnTo>
                  <a:lnTo>
                    <a:pt x="153314" y="329298"/>
                  </a:lnTo>
                  <a:lnTo>
                    <a:pt x="120065" y="336334"/>
                  </a:lnTo>
                  <a:lnTo>
                    <a:pt x="95986" y="343763"/>
                  </a:lnTo>
                  <a:lnTo>
                    <a:pt x="132740" y="347218"/>
                  </a:lnTo>
                  <a:lnTo>
                    <a:pt x="170586" y="354634"/>
                  </a:lnTo>
                  <a:lnTo>
                    <a:pt x="204317" y="366229"/>
                  </a:lnTo>
                  <a:lnTo>
                    <a:pt x="228701" y="382181"/>
                  </a:lnTo>
                  <a:lnTo>
                    <a:pt x="216750" y="394093"/>
                  </a:lnTo>
                  <a:lnTo>
                    <a:pt x="185305" y="430606"/>
                  </a:lnTo>
                  <a:lnTo>
                    <a:pt x="141020" y="492874"/>
                  </a:lnTo>
                  <a:lnTo>
                    <a:pt x="90500" y="582041"/>
                  </a:lnTo>
                  <a:lnTo>
                    <a:pt x="110845" y="563257"/>
                  </a:lnTo>
                  <a:lnTo>
                    <a:pt x="159664" y="519760"/>
                  </a:lnTo>
                  <a:lnTo>
                    <a:pt x="218655" y="470814"/>
                  </a:lnTo>
                  <a:lnTo>
                    <a:pt x="269506" y="435737"/>
                  </a:lnTo>
                  <a:lnTo>
                    <a:pt x="274218" y="451218"/>
                  </a:lnTo>
                  <a:lnTo>
                    <a:pt x="286080" y="488823"/>
                  </a:lnTo>
                  <a:lnTo>
                    <a:pt x="301586" y="535279"/>
                  </a:lnTo>
                  <a:lnTo>
                    <a:pt x="317296" y="577303"/>
                  </a:lnTo>
                  <a:lnTo>
                    <a:pt x="320471" y="559257"/>
                  </a:lnTo>
                  <a:lnTo>
                    <a:pt x="329628" y="514807"/>
                  </a:lnTo>
                  <a:lnTo>
                    <a:pt x="344220" y="458431"/>
                  </a:lnTo>
                  <a:lnTo>
                    <a:pt x="363689" y="404647"/>
                  </a:lnTo>
                  <a:lnTo>
                    <a:pt x="411759" y="396201"/>
                  </a:lnTo>
                  <a:lnTo>
                    <a:pt x="445465" y="394055"/>
                  </a:lnTo>
                  <a:lnTo>
                    <a:pt x="488594" y="394258"/>
                  </a:lnTo>
                  <a:lnTo>
                    <a:pt x="544372" y="398703"/>
                  </a:lnTo>
                  <a:lnTo>
                    <a:pt x="615988" y="409270"/>
                  </a:lnTo>
                  <a:close/>
                </a:path>
                <a:path w="1064895" h="1024254">
                  <a:moveTo>
                    <a:pt x="668820" y="840409"/>
                  </a:moveTo>
                  <a:lnTo>
                    <a:pt x="643737" y="857326"/>
                  </a:lnTo>
                  <a:lnTo>
                    <a:pt x="619036" y="872617"/>
                  </a:lnTo>
                  <a:lnTo>
                    <a:pt x="593331" y="886955"/>
                  </a:lnTo>
                  <a:lnTo>
                    <a:pt x="565213" y="900963"/>
                  </a:lnTo>
                  <a:lnTo>
                    <a:pt x="563105" y="874636"/>
                  </a:lnTo>
                  <a:lnTo>
                    <a:pt x="561594" y="846582"/>
                  </a:lnTo>
                  <a:lnTo>
                    <a:pt x="545769" y="867625"/>
                  </a:lnTo>
                  <a:lnTo>
                    <a:pt x="514324" y="906386"/>
                  </a:lnTo>
                  <a:lnTo>
                    <a:pt x="467461" y="933411"/>
                  </a:lnTo>
                  <a:lnTo>
                    <a:pt x="411568" y="941120"/>
                  </a:lnTo>
                  <a:lnTo>
                    <a:pt x="382447" y="941984"/>
                  </a:lnTo>
                  <a:lnTo>
                    <a:pt x="400913" y="950620"/>
                  </a:lnTo>
                  <a:lnTo>
                    <a:pt x="419341" y="957618"/>
                  </a:lnTo>
                  <a:lnTo>
                    <a:pt x="437959" y="963256"/>
                  </a:lnTo>
                  <a:lnTo>
                    <a:pt x="457034" y="967778"/>
                  </a:lnTo>
                  <a:lnTo>
                    <a:pt x="438289" y="984161"/>
                  </a:lnTo>
                  <a:lnTo>
                    <a:pt x="420370" y="998575"/>
                  </a:lnTo>
                  <a:lnTo>
                    <a:pt x="402590" y="1011580"/>
                  </a:lnTo>
                  <a:lnTo>
                    <a:pt x="384276" y="1023772"/>
                  </a:lnTo>
                  <a:lnTo>
                    <a:pt x="417855" y="1014844"/>
                  </a:lnTo>
                  <a:lnTo>
                    <a:pt x="453834" y="1003084"/>
                  </a:lnTo>
                  <a:lnTo>
                    <a:pt x="489635" y="988644"/>
                  </a:lnTo>
                  <a:lnTo>
                    <a:pt x="522719" y="971638"/>
                  </a:lnTo>
                  <a:lnTo>
                    <a:pt x="538518" y="971854"/>
                  </a:lnTo>
                  <a:lnTo>
                    <a:pt x="553427" y="971308"/>
                  </a:lnTo>
                  <a:lnTo>
                    <a:pt x="567055" y="970051"/>
                  </a:lnTo>
                  <a:lnTo>
                    <a:pt x="579056" y="968171"/>
                  </a:lnTo>
                  <a:lnTo>
                    <a:pt x="576414" y="959256"/>
                  </a:lnTo>
                  <a:lnTo>
                    <a:pt x="574116" y="950595"/>
                  </a:lnTo>
                  <a:lnTo>
                    <a:pt x="571957" y="941222"/>
                  </a:lnTo>
                  <a:lnTo>
                    <a:pt x="569722" y="930186"/>
                  </a:lnTo>
                  <a:lnTo>
                    <a:pt x="597027" y="908100"/>
                  </a:lnTo>
                  <a:lnTo>
                    <a:pt x="621715" y="886282"/>
                  </a:lnTo>
                  <a:lnTo>
                    <a:pt x="645198" y="863981"/>
                  </a:lnTo>
                  <a:lnTo>
                    <a:pt x="668820" y="840409"/>
                  </a:lnTo>
                  <a:close/>
                </a:path>
                <a:path w="1064895" h="1024254">
                  <a:moveTo>
                    <a:pt x="1064450" y="81673"/>
                  </a:moveTo>
                  <a:lnTo>
                    <a:pt x="1002499" y="86893"/>
                  </a:lnTo>
                  <a:lnTo>
                    <a:pt x="979131" y="90068"/>
                  </a:lnTo>
                  <a:lnTo>
                    <a:pt x="958151" y="95135"/>
                  </a:lnTo>
                  <a:lnTo>
                    <a:pt x="924267" y="77012"/>
                  </a:lnTo>
                  <a:lnTo>
                    <a:pt x="883107" y="59359"/>
                  </a:lnTo>
                  <a:lnTo>
                    <a:pt x="836409" y="42786"/>
                  </a:lnTo>
                  <a:lnTo>
                    <a:pt x="785939" y="27952"/>
                  </a:lnTo>
                  <a:lnTo>
                    <a:pt x="733425" y="15443"/>
                  </a:lnTo>
                  <a:lnTo>
                    <a:pt x="680605" y="5918"/>
                  </a:lnTo>
                  <a:lnTo>
                    <a:pt x="629221" y="0"/>
                  </a:lnTo>
                  <a:lnTo>
                    <a:pt x="662635" y="16040"/>
                  </a:lnTo>
                  <a:lnTo>
                    <a:pt x="711123" y="41846"/>
                  </a:lnTo>
                  <a:lnTo>
                    <a:pt x="763181" y="71678"/>
                  </a:lnTo>
                  <a:lnTo>
                    <a:pt x="807250" y="99822"/>
                  </a:lnTo>
                  <a:lnTo>
                    <a:pt x="831799" y="120548"/>
                  </a:lnTo>
                  <a:lnTo>
                    <a:pt x="787273" y="128511"/>
                  </a:lnTo>
                  <a:lnTo>
                    <a:pt x="735025" y="141071"/>
                  </a:lnTo>
                  <a:lnTo>
                    <a:pt x="679069" y="157175"/>
                  </a:lnTo>
                  <a:lnTo>
                    <a:pt x="623404" y="175729"/>
                  </a:lnTo>
                  <a:lnTo>
                    <a:pt x="572046" y="195681"/>
                  </a:lnTo>
                  <a:lnTo>
                    <a:pt x="528980" y="215950"/>
                  </a:lnTo>
                  <a:lnTo>
                    <a:pt x="574700" y="207124"/>
                  </a:lnTo>
                  <a:lnTo>
                    <a:pt x="624166" y="199732"/>
                  </a:lnTo>
                  <a:lnTo>
                    <a:pt x="675398" y="193649"/>
                  </a:lnTo>
                  <a:lnTo>
                    <a:pt x="726351" y="188810"/>
                  </a:lnTo>
                  <a:lnTo>
                    <a:pt x="775042" y="185089"/>
                  </a:lnTo>
                  <a:lnTo>
                    <a:pt x="819454" y="182410"/>
                  </a:lnTo>
                  <a:lnTo>
                    <a:pt x="796975" y="214680"/>
                  </a:lnTo>
                  <a:lnTo>
                    <a:pt x="775284" y="243433"/>
                  </a:lnTo>
                  <a:lnTo>
                    <a:pt x="749846" y="273939"/>
                  </a:lnTo>
                  <a:lnTo>
                    <a:pt x="716076" y="311442"/>
                  </a:lnTo>
                  <a:lnTo>
                    <a:pt x="773544" y="278803"/>
                  </a:lnTo>
                  <a:lnTo>
                    <a:pt x="818172" y="256019"/>
                  </a:lnTo>
                  <a:lnTo>
                    <a:pt x="861415" y="234213"/>
                  </a:lnTo>
                  <a:lnTo>
                    <a:pt x="914781" y="204508"/>
                  </a:lnTo>
                  <a:lnTo>
                    <a:pt x="931037" y="239026"/>
                  </a:lnTo>
                  <a:lnTo>
                    <a:pt x="942327" y="284111"/>
                  </a:lnTo>
                  <a:lnTo>
                    <a:pt x="949490" y="335775"/>
                  </a:lnTo>
                  <a:lnTo>
                    <a:pt x="953389" y="390042"/>
                  </a:lnTo>
                  <a:lnTo>
                    <a:pt x="954900" y="442937"/>
                  </a:lnTo>
                  <a:lnTo>
                    <a:pt x="968730" y="405130"/>
                  </a:lnTo>
                  <a:lnTo>
                    <a:pt x="982065" y="351243"/>
                  </a:lnTo>
                  <a:lnTo>
                    <a:pt x="993432" y="290004"/>
                  </a:lnTo>
                  <a:lnTo>
                    <a:pt x="1001395" y="230174"/>
                  </a:lnTo>
                  <a:lnTo>
                    <a:pt x="1004481" y="180479"/>
                  </a:lnTo>
                  <a:lnTo>
                    <a:pt x="1001255" y="149669"/>
                  </a:lnTo>
                  <a:lnTo>
                    <a:pt x="1030287" y="128270"/>
                  </a:lnTo>
                  <a:lnTo>
                    <a:pt x="1046657" y="111633"/>
                  </a:lnTo>
                  <a:lnTo>
                    <a:pt x="1056119" y="97028"/>
                  </a:lnTo>
                  <a:lnTo>
                    <a:pt x="1064450" y="8167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43" name="object 41">
              <a:extLst>
                <a:ext uri="{FF2B5EF4-FFF2-40B4-BE49-F238E27FC236}">
                  <a16:creationId xmlns:a16="http://schemas.microsoft.com/office/drawing/2014/main" id="{E61A765B-5A80-C048-8D55-F7AD128988CC}"/>
                </a:ext>
              </a:extLst>
            </p:cNvPr>
            <p:cNvSpPr/>
            <p:nvPr/>
          </p:nvSpPr>
          <p:spPr>
            <a:xfrm>
              <a:off x="2499023" y="10166919"/>
              <a:ext cx="224851" cy="241479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44" name="object 42">
              <a:extLst>
                <a:ext uri="{FF2B5EF4-FFF2-40B4-BE49-F238E27FC236}">
                  <a16:creationId xmlns:a16="http://schemas.microsoft.com/office/drawing/2014/main" id="{9F6D1FAB-2AB5-9442-B7F8-C3D87D3DF48E}"/>
                </a:ext>
              </a:extLst>
            </p:cNvPr>
            <p:cNvSpPr/>
            <p:nvPr/>
          </p:nvSpPr>
          <p:spPr>
            <a:xfrm>
              <a:off x="2208306" y="10166934"/>
              <a:ext cx="249489" cy="241448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45" name="object 43">
              <a:extLst>
                <a:ext uri="{FF2B5EF4-FFF2-40B4-BE49-F238E27FC236}">
                  <a16:creationId xmlns:a16="http://schemas.microsoft.com/office/drawing/2014/main" id="{DFA7F4B5-7A01-7A43-9BAB-777DCE75E289}"/>
                </a:ext>
              </a:extLst>
            </p:cNvPr>
            <p:cNvSpPr/>
            <p:nvPr/>
          </p:nvSpPr>
          <p:spPr>
            <a:xfrm>
              <a:off x="2779850" y="10166911"/>
              <a:ext cx="235615" cy="241490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46" name="object 44">
              <a:extLst>
                <a:ext uri="{FF2B5EF4-FFF2-40B4-BE49-F238E27FC236}">
                  <a16:creationId xmlns:a16="http://schemas.microsoft.com/office/drawing/2014/main" id="{116E7D40-B90B-0E46-B652-078707A056D7}"/>
                </a:ext>
              </a:extLst>
            </p:cNvPr>
            <p:cNvSpPr/>
            <p:nvPr/>
          </p:nvSpPr>
          <p:spPr>
            <a:xfrm>
              <a:off x="3145360" y="10166911"/>
              <a:ext cx="235584" cy="241490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47" name="object 45">
              <a:extLst>
                <a:ext uri="{FF2B5EF4-FFF2-40B4-BE49-F238E27FC236}">
                  <a16:creationId xmlns:a16="http://schemas.microsoft.com/office/drawing/2014/main" id="{CA8F5E30-6B4F-A54C-8290-B143EEF074D0}"/>
                </a:ext>
              </a:extLst>
            </p:cNvPr>
            <p:cNvSpPr/>
            <p:nvPr/>
          </p:nvSpPr>
          <p:spPr>
            <a:xfrm>
              <a:off x="3358354" y="10166927"/>
              <a:ext cx="555625" cy="241935"/>
            </a:xfrm>
            <a:custGeom>
              <a:avLst/>
              <a:gdLst/>
              <a:ahLst/>
              <a:cxnLst/>
              <a:rect l="l" t="t" r="r" b="b"/>
              <a:pathLst>
                <a:path w="555625" h="241934">
                  <a:moveTo>
                    <a:pt x="270586" y="241477"/>
                  </a:moveTo>
                  <a:lnTo>
                    <a:pt x="253250" y="204152"/>
                  </a:lnTo>
                  <a:lnTo>
                    <a:pt x="245922" y="188137"/>
                  </a:lnTo>
                  <a:lnTo>
                    <a:pt x="229755" y="152755"/>
                  </a:lnTo>
                  <a:lnTo>
                    <a:pt x="227533" y="147904"/>
                  </a:lnTo>
                  <a:lnTo>
                    <a:pt x="199783" y="86169"/>
                  </a:lnTo>
                  <a:lnTo>
                    <a:pt x="196811" y="79362"/>
                  </a:lnTo>
                  <a:lnTo>
                    <a:pt x="176339" y="32385"/>
                  </a:lnTo>
                  <a:lnTo>
                    <a:pt x="163525" y="0"/>
                  </a:lnTo>
                  <a:lnTo>
                    <a:pt x="156794" y="0"/>
                  </a:lnTo>
                  <a:lnTo>
                    <a:pt x="156794" y="151930"/>
                  </a:lnTo>
                  <a:lnTo>
                    <a:pt x="143052" y="152488"/>
                  </a:lnTo>
                  <a:lnTo>
                    <a:pt x="136550" y="152679"/>
                  </a:lnTo>
                  <a:lnTo>
                    <a:pt x="129006" y="152755"/>
                  </a:lnTo>
                  <a:lnTo>
                    <a:pt x="122313" y="152679"/>
                  </a:lnTo>
                  <a:lnTo>
                    <a:pt x="107099" y="152222"/>
                  </a:lnTo>
                  <a:lnTo>
                    <a:pt x="99885" y="151930"/>
                  </a:lnTo>
                  <a:lnTo>
                    <a:pt x="106387" y="134937"/>
                  </a:lnTo>
                  <a:lnTo>
                    <a:pt x="114173" y="115760"/>
                  </a:lnTo>
                  <a:lnTo>
                    <a:pt x="121881" y="96520"/>
                  </a:lnTo>
                  <a:lnTo>
                    <a:pt x="128117" y="79362"/>
                  </a:lnTo>
                  <a:lnTo>
                    <a:pt x="133921" y="95897"/>
                  </a:lnTo>
                  <a:lnTo>
                    <a:pt x="141287" y="114427"/>
                  </a:lnTo>
                  <a:lnTo>
                    <a:pt x="149237" y="133565"/>
                  </a:lnTo>
                  <a:lnTo>
                    <a:pt x="156794" y="151930"/>
                  </a:lnTo>
                  <a:lnTo>
                    <a:pt x="156794" y="0"/>
                  </a:lnTo>
                  <a:lnTo>
                    <a:pt x="107061" y="0"/>
                  </a:lnTo>
                  <a:lnTo>
                    <a:pt x="91719" y="37045"/>
                  </a:lnTo>
                  <a:lnTo>
                    <a:pt x="67056" y="93027"/>
                  </a:lnTo>
                  <a:lnTo>
                    <a:pt x="39370" y="154622"/>
                  </a:lnTo>
                  <a:lnTo>
                    <a:pt x="0" y="241477"/>
                  </a:lnTo>
                  <a:lnTo>
                    <a:pt x="69024" y="241477"/>
                  </a:lnTo>
                  <a:lnTo>
                    <a:pt x="73456" y="228866"/>
                  </a:lnTo>
                  <a:lnTo>
                    <a:pt x="78117" y="216268"/>
                  </a:lnTo>
                  <a:lnTo>
                    <a:pt x="83032" y="203174"/>
                  </a:lnTo>
                  <a:lnTo>
                    <a:pt x="88239" y="189090"/>
                  </a:lnTo>
                  <a:lnTo>
                    <a:pt x="107454" y="188417"/>
                  </a:lnTo>
                  <a:lnTo>
                    <a:pt x="117665" y="188214"/>
                  </a:lnTo>
                  <a:lnTo>
                    <a:pt x="139611" y="188201"/>
                  </a:lnTo>
                  <a:lnTo>
                    <a:pt x="161010" y="188328"/>
                  </a:lnTo>
                  <a:lnTo>
                    <a:pt x="170230" y="188582"/>
                  </a:lnTo>
                  <a:lnTo>
                    <a:pt x="177990" y="208381"/>
                  </a:lnTo>
                  <a:lnTo>
                    <a:pt x="183946" y="222923"/>
                  </a:lnTo>
                  <a:lnTo>
                    <a:pt x="188315" y="233527"/>
                  </a:lnTo>
                  <a:lnTo>
                    <a:pt x="191287" y="241477"/>
                  </a:lnTo>
                  <a:lnTo>
                    <a:pt x="270586" y="241477"/>
                  </a:lnTo>
                  <a:close/>
                </a:path>
                <a:path w="555625" h="241934">
                  <a:moveTo>
                    <a:pt x="555002" y="241477"/>
                  </a:moveTo>
                  <a:lnTo>
                    <a:pt x="538988" y="222123"/>
                  </a:lnTo>
                  <a:lnTo>
                    <a:pt x="514578" y="190842"/>
                  </a:lnTo>
                  <a:lnTo>
                    <a:pt x="491007" y="159575"/>
                  </a:lnTo>
                  <a:lnTo>
                    <a:pt x="477520" y="140233"/>
                  </a:lnTo>
                  <a:lnTo>
                    <a:pt x="501192" y="128384"/>
                  </a:lnTo>
                  <a:lnTo>
                    <a:pt x="519252" y="113588"/>
                  </a:lnTo>
                  <a:lnTo>
                    <a:pt x="530771" y="95758"/>
                  </a:lnTo>
                  <a:lnTo>
                    <a:pt x="534809" y="74841"/>
                  </a:lnTo>
                  <a:lnTo>
                    <a:pt x="524129" y="39535"/>
                  </a:lnTo>
                  <a:lnTo>
                    <a:pt x="496646" y="16421"/>
                  </a:lnTo>
                  <a:lnTo>
                    <a:pt x="459257" y="3822"/>
                  </a:lnTo>
                  <a:lnTo>
                    <a:pt x="418833" y="0"/>
                  </a:lnTo>
                  <a:lnTo>
                    <a:pt x="299224" y="0"/>
                  </a:lnTo>
                  <a:lnTo>
                    <a:pt x="301383" y="22593"/>
                  </a:lnTo>
                  <a:lnTo>
                    <a:pt x="302602" y="51320"/>
                  </a:lnTo>
                  <a:lnTo>
                    <a:pt x="303161" y="83045"/>
                  </a:lnTo>
                  <a:lnTo>
                    <a:pt x="303288" y="114681"/>
                  </a:lnTo>
                  <a:lnTo>
                    <a:pt x="303085" y="149872"/>
                  </a:lnTo>
                  <a:lnTo>
                    <a:pt x="302310" y="182791"/>
                  </a:lnTo>
                  <a:lnTo>
                    <a:pt x="300799" y="213347"/>
                  </a:lnTo>
                  <a:lnTo>
                    <a:pt x="298335" y="241477"/>
                  </a:lnTo>
                  <a:lnTo>
                    <a:pt x="378980" y="241477"/>
                  </a:lnTo>
                  <a:lnTo>
                    <a:pt x="376643" y="209130"/>
                  </a:lnTo>
                  <a:lnTo>
                    <a:pt x="375437" y="172212"/>
                  </a:lnTo>
                  <a:lnTo>
                    <a:pt x="374992" y="138214"/>
                  </a:lnTo>
                  <a:lnTo>
                    <a:pt x="375031" y="99377"/>
                  </a:lnTo>
                  <a:lnTo>
                    <a:pt x="375869" y="56502"/>
                  </a:lnTo>
                  <a:lnTo>
                    <a:pt x="376707" y="33629"/>
                  </a:lnTo>
                  <a:lnTo>
                    <a:pt x="382346" y="33337"/>
                  </a:lnTo>
                  <a:lnTo>
                    <a:pt x="405396" y="33134"/>
                  </a:lnTo>
                  <a:lnTo>
                    <a:pt x="421474" y="35102"/>
                  </a:lnTo>
                  <a:lnTo>
                    <a:pt x="439407" y="41833"/>
                  </a:lnTo>
                  <a:lnTo>
                    <a:pt x="453999" y="54546"/>
                  </a:lnTo>
                  <a:lnTo>
                    <a:pt x="460019" y="74434"/>
                  </a:lnTo>
                  <a:lnTo>
                    <a:pt x="454787" y="96100"/>
                  </a:lnTo>
                  <a:lnTo>
                    <a:pt x="440702" y="111112"/>
                  </a:lnTo>
                  <a:lnTo>
                    <a:pt x="420166" y="119087"/>
                  </a:lnTo>
                  <a:lnTo>
                    <a:pt x="395554" y="119595"/>
                  </a:lnTo>
                  <a:lnTo>
                    <a:pt x="416902" y="152501"/>
                  </a:lnTo>
                  <a:lnTo>
                    <a:pt x="437070" y="185572"/>
                  </a:lnTo>
                  <a:lnTo>
                    <a:pt x="454723" y="216128"/>
                  </a:lnTo>
                  <a:lnTo>
                    <a:pt x="468528" y="241477"/>
                  </a:lnTo>
                  <a:lnTo>
                    <a:pt x="555002" y="241477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48" name="object 46">
              <a:extLst>
                <a:ext uri="{FF2B5EF4-FFF2-40B4-BE49-F238E27FC236}">
                  <a16:creationId xmlns:a16="http://schemas.microsoft.com/office/drawing/2014/main" id="{7ECB49AA-CF17-064F-929F-8149EB77D23D}"/>
                </a:ext>
              </a:extLst>
            </p:cNvPr>
            <p:cNvSpPr/>
            <p:nvPr/>
          </p:nvSpPr>
          <p:spPr>
            <a:xfrm>
              <a:off x="3944738" y="10166919"/>
              <a:ext cx="79714" cy="241479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49" name="object 47">
              <a:extLst>
                <a:ext uri="{FF2B5EF4-FFF2-40B4-BE49-F238E27FC236}">
                  <a16:creationId xmlns:a16="http://schemas.microsoft.com/office/drawing/2014/main" id="{8D9F0A5D-88CE-C543-B751-E7163E636C96}"/>
                </a:ext>
              </a:extLst>
            </p:cNvPr>
            <p:cNvSpPr/>
            <p:nvPr/>
          </p:nvSpPr>
          <p:spPr>
            <a:xfrm>
              <a:off x="4076391" y="10166934"/>
              <a:ext cx="249521" cy="241448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50" name="object 48">
              <a:extLst>
                <a:ext uri="{FF2B5EF4-FFF2-40B4-BE49-F238E27FC236}">
                  <a16:creationId xmlns:a16="http://schemas.microsoft.com/office/drawing/2014/main" id="{BE575E7D-A037-204A-9162-5A6EA2627210}"/>
                </a:ext>
              </a:extLst>
            </p:cNvPr>
            <p:cNvSpPr/>
            <p:nvPr/>
          </p:nvSpPr>
          <p:spPr>
            <a:xfrm>
              <a:off x="4334854" y="10166922"/>
              <a:ext cx="271145" cy="241935"/>
            </a:xfrm>
            <a:custGeom>
              <a:avLst/>
              <a:gdLst/>
              <a:ahLst/>
              <a:cxnLst/>
              <a:rect l="l" t="t" r="r" b="b"/>
              <a:pathLst>
                <a:path w="271145" h="241934">
                  <a:moveTo>
                    <a:pt x="163492" y="0"/>
                  </a:moveTo>
                  <a:lnTo>
                    <a:pt x="107022" y="0"/>
                  </a:lnTo>
                  <a:lnTo>
                    <a:pt x="91693" y="37045"/>
                  </a:lnTo>
                  <a:lnTo>
                    <a:pt x="67045" y="93022"/>
                  </a:lnTo>
                  <a:lnTo>
                    <a:pt x="39359" y="154624"/>
                  </a:lnTo>
                  <a:lnTo>
                    <a:pt x="0" y="241479"/>
                  </a:lnTo>
                  <a:lnTo>
                    <a:pt x="68982" y="241479"/>
                  </a:lnTo>
                  <a:lnTo>
                    <a:pt x="73421" y="228869"/>
                  </a:lnTo>
                  <a:lnTo>
                    <a:pt x="78086" y="216270"/>
                  </a:lnTo>
                  <a:lnTo>
                    <a:pt x="83003" y="203177"/>
                  </a:lnTo>
                  <a:lnTo>
                    <a:pt x="88196" y="189083"/>
                  </a:lnTo>
                  <a:lnTo>
                    <a:pt x="107448" y="188418"/>
                  </a:lnTo>
                  <a:lnTo>
                    <a:pt x="117652" y="188208"/>
                  </a:lnTo>
                  <a:lnTo>
                    <a:pt x="245881" y="188130"/>
                  </a:lnTo>
                  <a:lnTo>
                    <a:pt x="229705" y="152749"/>
                  </a:lnTo>
                  <a:lnTo>
                    <a:pt x="128969" y="152749"/>
                  </a:lnTo>
                  <a:lnTo>
                    <a:pt x="122296" y="152674"/>
                  </a:lnTo>
                  <a:lnTo>
                    <a:pt x="107087" y="152214"/>
                  </a:lnTo>
                  <a:lnTo>
                    <a:pt x="99913" y="151922"/>
                  </a:lnTo>
                  <a:lnTo>
                    <a:pt x="106371" y="134938"/>
                  </a:lnTo>
                  <a:lnTo>
                    <a:pt x="114153" y="115758"/>
                  </a:lnTo>
                  <a:lnTo>
                    <a:pt x="121864" y="96518"/>
                  </a:lnTo>
                  <a:lnTo>
                    <a:pt x="128111" y="79358"/>
                  </a:lnTo>
                  <a:lnTo>
                    <a:pt x="196766" y="79358"/>
                  </a:lnTo>
                  <a:lnTo>
                    <a:pt x="176286" y="32382"/>
                  </a:lnTo>
                  <a:lnTo>
                    <a:pt x="163492" y="0"/>
                  </a:lnTo>
                  <a:close/>
                </a:path>
                <a:path w="271145" h="241934">
                  <a:moveTo>
                    <a:pt x="245881" y="188130"/>
                  </a:moveTo>
                  <a:lnTo>
                    <a:pt x="128969" y="188130"/>
                  </a:lnTo>
                  <a:lnTo>
                    <a:pt x="161003" y="188320"/>
                  </a:lnTo>
                  <a:lnTo>
                    <a:pt x="170225" y="188580"/>
                  </a:lnTo>
                  <a:lnTo>
                    <a:pt x="177988" y="208379"/>
                  </a:lnTo>
                  <a:lnTo>
                    <a:pt x="188287" y="233524"/>
                  </a:lnTo>
                  <a:lnTo>
                    <a:pt x="191250" y="241479"/>
                  </a:lnTo>
                  <a:lnTo>
                    <a:pt x="270546" y="241479"/>
                  </a:lnTo>
                  <a:lnTo>
                    <a:pt x="253208" y="204156"/>
                  </a:lnTo>
                  <a:lnTo>
                    <a:pt x="245881" y="188130"/>
                  </a:lnTo>
                  <a:close/>
                </a:path>
                <a:path w="271145" h="241934">
                  <a:moveTo>
                    <a:pt x="196766" y="79358"/>
                  </a:moveTo>
                  <a:lnTo>
                    <a:pt x="128111" y="79358"/>
                  </a:lnTo>
                  <a:lnTo>
                    <a:pt x="133906" y="95896"/>
                  </a:lnTo>
                  <a:lnTo>
                    <a:pt x="141257" y="114427"/>
                  </a:lnTo>
                  <a:lnTo>
                    <a:pt x="149197" y="133564"/>
                  </a:lnTo>
                  <a:lnTo>
                    <a:pt x="156759" y="151922"/>
                  </a:lnTo>
                  <a:lnTo>
                    <a:pt x="143045" y="152480"/>
                  </a:lnTo>
                  <a:lnTo>
                    <a:pt x="136533" y="152674"/>
                  </a:lnTo>
                  <a:lnTo>
                    <a:pt x="128969" y="152749"/>
                  </a:lnTo>
                  <a:lnTo>
                    <a:pt x="229705" y="152749"/>
                  </a:lnTo>
                  <a:lnTo>
                    <a:pt x="227489" y="147903"/>
                  </a:lnTo>
                  <a:lnTo>
                    <a:pt x="199734" y="86164"/>
                  </a:lnTo>
                  <a:lnTo>
                    <a:pt x="196766" y="7935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51" name="object 49">
              <a:extLst>
                <a:ext uri="{FF2B5EF4-FFF2-40B4-BE49-F238E27FC236}">
                  <a16:creationId xmlns:a16="http://schemas.microsoft.com/office/drawing/2014/main" id="{FCF2A1B1-5648-0842-B0DB-DA998CCF6FFF}"/>
                </a:ext>
              </a:extLst>
            </p:cNvPr>
            <p:cNvSpPr/>
            <p:nvPr/>
          </p:nvSpPr>
          <p:spPr>
            <a:xfrm>
              <a:off x="4623312" y="10160665"/>
              <a:ext cx="207826" cy="253971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52" name="object 50">
              <a:extLst>
                <a:ext uri="{FF2B5EF4-FFF2-40B4-BE49-F238E27FC236}">
                  <a16:creationId xmlns:a16="http://schemas.microsoft.com/office/drawing/2014/main" id="{D11D38E2-801C-3C4D-9761-CD4E76913114}"/>
                </a:ext>
              </a:extLst>
            </p:cNvPr>
            <p:cNvSpPr/>
            <p:nvPr/>
          </p:nvSpPr>
          <p:spPr>
            <a:xfrm>
              <a:off x="4964853" y="10160665"/>
              <a:ext cx="835660" cy="254635"/>
            </a:xfrm>
            <a:custGeom>
              <a:avLst/>
              <a:gdLst/>
              <a:ahLst/>
              <a:cxnLst/>
              <a:rect l="l" t="t" r="r" b="b"/>
              <a:pathLst>
                <a:path w="835660" h="254634">
                  <a:moveTo>
                    <a:pt x="256692" y="130327"/>
                  </a:moveTo>
                  <a:lnTo>
                    <a:pt x="180543" y="130327"/>
                  </a:lnTo>
                  <a:lnTo>
                    <a:pt x="181902" y="148005"/>
                  </a:lnTo>
                  <a:lnTo>
                    <a:pt x="182702" y="169824"/>
                  </a:lnTo>
                  <a:lnTo>
                    <a:pt x="183184" y="216357"/>
                  </a:lnTo>
                  <a:lnTo>
                    <a:pt x="157657" y="218135"/>
                  </a:lnTo>
                  <a:lnTo>
                    <a:pt x="128422" y="213652"/>
                  </a:lnTo>
                  <a:lnTo>
                    <a:pt x="103847" y="198704"/>
                  </a:lnTo>
                  <a:lnTo>
                    <a:pt x="86918" y="171094"/>
                  </a:lnTo>
                  <a:lnTo>
                    <a:pt x="80606" y="128574"/>
                  </a:lnTo>
                  <a:lnTo>
                    <a:pt x="84645" y="97421"/>
                  </a:lnTo>
                  <a:lnTo>
                    <a:pt x="97751" y="68211"/>
                  </a:lnTo>
                  <a:lnTo>
                    <a:pt x="121450" y="46558"/>
                  </a:lnTo>
                  <a:lnTo>
                    <a:pt x="157238" y="38100"/>
                  </a:lnTo>
                  <a:lnTo>
                    <a:pt x="172707" y="39585"/>
                  </a:lnTo>
                  <a:lnTo>
                    <a:pt x="189649" y="43649"/>
                  </a:lnTo>
                  <a:lnTo>
                    <a:pt x="206171" y="49631"/>
                  </a:lnTo>
                  <a:lnTo>
                    <a:pt x="220370" y="56921"/>
                  </a:lnTo>
                  <a:lnTo>
                    <a:pt x="237871" y="9448"/>
                  </a:lnTo>
                  <a:lnTo>
                    <a:pt x="218541" y="5524"/>
                  </a:lnTo>
                  <a:lnTo>
                    <a:pt x="197497" y="2540"/>
                  </a:lnTo>
                  <a:lnTo>
                    <a:pt x="176695" y="660"/>
                  </a:lnTo>
                  <a:lnTo>
                    <a:pt x="158127" y="0"/>
                  </a:lnTo>
                  <a:lnTo>
                    <a:pt x="104025" y="6311"/>
                  </a:lnTo>
                  <a:lnTo>
                    <a:pt x="60096" y="24079"/>
                  </a:lnTo>
                  <a:lnTo>
                    <a:pt x="27419" y="51485"/>
                  </a:lnTo>
                  <a:lnTo>
                    <a:pt x="7035" y="86766"/>
                  </a:lnTo>
                  <a:lnTo>
                    <a:pt x="0" y="128130"/>
                  </a:lnTo>
                  <a:lnTo>
                    <a:pt x="6680" y="167881"/>
                  </a:lnTo>
                  <a:lnTo>
                    <a:pt x="25908" y="202438"/>
                  </a:lnTo>
                  <a:lnTo>
                    <a:pt x="56502" y="229692"/>
                  </a:lnTo>
                  <a:lnTo>
                    <a:pt x="97243" y="247561"/>
                  </a:lnTo>
                  <a:lnTo>
                    <a:pt x="146939" y="253987"/>
                  </a:lnTo>
                  <a:lnTo>
                    <a:pt x="176491" y="252590"/>
                  </a:lnTo>
                  <a:lnTo>
                    <a:pt x="205041" y="248513"/>
                  </a:lnTo>
                  <a:lnTo>
                    <a:pt x="231089" y="241909"/>
                  </a:lnTo>
                  <a:lnTo>
                    <a:pt x="253098" y="232956"/>
                  </a:lnTo>
                  <a:lnTo>
                    <a:pt x="255663" y="152349"/>
                  </a:lnTo>
                  <a:lnTo>
                    <a:pt x="256692" y="130327"/>
                  </a:lnTo>
                  <a:close/>
                </a:path>
                <a:path w="835660" h="254634">
                  <a:moveTo>
                    <a:pt x="559917" y="247738"/>
                  </a:moveTo>
                  <a:lnTo>
                    <a:pt x="543890" y="228384"/>
                  </a:lnTo>
                  <a:lnTo>
                    <a:pt x="519480" y="197104"/>
                  </a:lnTo>
                  <a:lnTo>
                    <a:pt x="495922" y="165836"/>
                  </a:lnTo>
                  <a:lnTo>
                    <a:pt x="482422" y="146494"/>
                  </a:lnTo>
                  <a:lnTo>
                    <a:pt x="506107" y="134645"/>
                  </a:lnTo>
                  <a:lnTo>
                    <a:pt x="524179" y="119849"/>
                  </a:lnTo>
                  <a:lnTo>
                    <a:pt x="535698" y="102019"/>
                  </a:lnTo>
                  <a:lnTo>
                    <a:pt x="539750" y="81102"/>
                  </a:lnTo>
                  <a:lnTo>
                    <a:pt x="529043" y="45796"/>
                  </a:lnTo>
                  <a:lnTo>
                    <a:pt x="501548" y="22682"/>
                  </a:lnTo>
                  <a:lnTo>
                    <a:pt x="464146" y="10083"/>
                  </a:lnTo>
                  <a:lnTo>
                    <a:pt x="423735" y="6261"/>
                  </a:lnTo>
                  <a:lnTo>
                    <a:pt x="304139" y="6261"/>
                  </a:lnTo>
                  <a:lnTo>
                    <a:pt x="306285" y="28854"/>
                  </a:lnTo>
                  <a:lnTo>
                    <a:pt x="307517" y="57581"/>
                  </a:lnTo>
                  <a:lnTo>
                    <a:pt x="308076" y="89306"/>
                  </a:lnTo>
                  <a:lnTo>
                    <a:pt x="308203" y="120942"/>
                  </a:lnTo>
                  <a:lnTo>
                    <a:pt x="308000" y="156133"/>
                  </a:lnTo>
                  <a:lnTo>
                    <a:pt x="307238" y="189052"/>
                  </a:lnTo>
                  <a:lnTo>
                    <a:pt x="305727" y="219608"/>
                  </a:lnTo>
                  <a:lnTo>
                    <a:pt x="303250" y="247738"/>
                  </a:lnTo>
                  <a:lnTo>
                    <a:pt x="383882" y="247738"/>
                  </a:lnTo>
                  <a:lnTo>
                    <a:pt x="381546" y="215392"/>
                  </a:lnTo>
                  <a:lnTo>
                    <a:pt x="380352" y="178473"/>
                  </a:lnTo>
                  <a:lnTo>
                    <a:pt x="379907" y="144475"/>
                  </a:lnTo>
                  <a:lnTo>
                    <a:pt x="379933" y="105638"/>
                  </a:lnTo>
                  <a:lnTo>
                    <a:pt x="380784" y="62763"/>
                  </a:lnTo>
                  <a:lnTo>
                    <a:pt x="381622" y="39890"/>
                  </a:lnTo>
                  <a:lnTo>
                    <a:pt x="387248" y="39598"/>
                  </a:lnTo>
                  <a:lnTo>
                    <a:pt x="410298" y="39395"/>
                  </a:lnTo>
                  <a:lnTo>
                    <a:pt x="426389" y="41363"/>
                  </a:lnTo>
                  <a:lnTo>
                    <a:pt x="444322" y="48094"/>
                  </a:lnTo>
                  <a:lnTo>
                    <a:pt x="458914" y="60807"/>
                  </a:lnTo>
                  <a:lnTo>
                    <a:pt x="464934" y="80695"/>
                  </a:lnTo>
                  <a:lnTo>
                    <a:pt x="459701" y="102362"/>
                  </a:lnTo>
                  <a:lnTo>
                    <a:pt x="445617" y="117373"/>
                  </a:lnTo>
                  <a:lnTo>
                    <a:pt x="425069" y="125349"/>
                  </a:lnTo>
                  <a:lnTo>
                    <a:pt x="400456" y="125857"/>
                  </a:lnTo>
                  <a:lnTo>
                    <a:pt x="421817" y="158762"/>
                  </a:lnTo>
                  <a:lnTo>
                    <a:pt x="442010" y="191833"/>
                  </a:lnTo>
                  <a:lnTo>
                    <a:pt x="459676" y="222389"/>
                  </a:lnTo>
                  <a:lnTo>
                    <a:pt x="473481" y="247738"/>
                  </a:lnTo>
                  <a:lnTo>
                    <a:pt x="559917" y="247738"/>
                  </a:lnTo>
                  <a:close/>
                </a:path>
                <a:path w="835660" h="254634">
                  <a:moveTo>
                    <a:pt x="835393" y="127254"/>
                  </a:moveTo>
                  <a:lnTo>
                    <a:pt x="825398" y="75247"/>
                  </a:lnTo>
                  <a:lnTo>
                    <a:pt x="797814" y="35064"/>
                  </a:lnTo>
                  <a:lnTo>
                    <a:pt x="791159" y="30937"/>
                  </a:lnTo>
                  <a:lnTo>
                    <a:pt x="760158" y="11658"/>
                  </a:lnTo>
                  <a:lnTo>
                    <a:pt x="760158" y="127254"/>
                  </a:lnTo>
                  <a:lnTo>
                    <a:pt x="756259" y="168402"/>
                  </a:lnTo>
                  <a:lnTo>
                    <a:pt x="745096" y="198259"/>
                  </a:lnTo>
                  <a:lnTo>
                    <a:pt x="727456" y="216446"/>
                  </a:lnTo>
                  <a:lnTo>
                    <a:pt x="704138" y="222592"/>
                  </a:lnTo>
                  <a:lnTo>
                    <a:pt x="680516" y="216446"/>
                  </a:lnTo>
                  <a:lnTo>
                    <a:pt x="662597" y="198259"/>
                  </a:lnTo>
                  <a:lnTo>
                    <a:pt x="651230" y="168402"/>
                  </a:lnTo>
                  <a:lnTo>
                    <a:pt x="647255" y="127254"/>
                  </a:lnTo>
                  <a:lnTo>
                    <a:pt x="651230" y="85915"/>
                  </a:lnTo>
                  <a:lnTo>
                    <a:pt x="680516" y="37223"/>
                  </a:lnTo>
                  <a:lnTo>
                    <a:pt x="727456" y="37223"/>
                  </a:lnTo>
                  <a:lnTo>
                    <a:pt x="756259" y="85915"/>
                  </a:lnTo>
                  <a:lnTo>
                    <a:pt x="760158" y="127254"/>
                  </a:lnTo>
                  <a:lnTo>
                    <a:pt x="760158" y="11658"/>
                  </a:lnTo>
                  <a:lnTo>
                    <a:pt x="756196" y="9182"/>
                  </a:lnTo>
                  <a:lnTo>
                    <a:pt x="704138" y="0"/>
                  </a:lnTo>
                  <a:lnTo>
                    <a:pt x="651827" y="9182"/>
                  </a:lnTo>
                  <a:lnTo>
                    <a:pt x="610108" y="35064"/>
                  </a:lnTo>
                  <a:lnTo>
                    <a:pt x="582485" y="75247"/>
                  </a:lnTo>
                  <a:lnTo>
                    <a:pt x="572490" y="127254"/>
                  </a:lnTo>
                  <a:lnTo>
                    <a:pt x="582485" y="179044"/>
                  </a:lnTo>
                  <a:lnTo>
                    <a:pt x="610108" y="219214"/>
                  </a:lnTo>
                  <a:lnTo>
                    <a:pt x="651827" y="245211"/>
                  </a:lnTo>
                  <a:lnTo>
                    <a:pt x="704138" y="254444"/>
                  </a:lnTo>
                  <a:lnTo>
                    <a:pt x="756196" y="245211"/>
                  </a:lnTo>
                  <a:lnTo>
                    <a:pt x="792403" y="222592"/>
                  </a:lnTo>
                  <a:lnTo>
                    <a:pt x="797814" y="219214"/>
                  </a:lnTo>
                  <a:lnTo>
                    <a:pt x="825398" y="179044"/>
                  </a:lnTo>
                  <a:lnTo>
                    <a:pt x="835393" y="127254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53" name="object 51">
              <a:extLst>
                <a:ext uri="{FF2B5EF4-FFF2-40B4-BE49-F238E27FC236}">
                  <a16:creationId xmlns:a16="http://schemas.microsoft.com/office/drawing/2014/main" id="{4265AE7D-5582-AE44-9B1A-78F5772C066C}"/>
                </a:ext>
              </a:extLst>
            </p:cNvPr>
            <p:cNvSpPr/>
            <p:nvPr/>
          </p:nvSpPr>
          <p:spPr>
            <a:xfrm>
              <a:off x="5833827" y="10166919"/>
              <a:ext cx="235165" cy="247741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54" name="object 52">
              <a:extLst>
                <a:ext uri="{FF2B5EF4-FFF2-40B4-BE49-F238E27FC236}">
                  <a16:creationId xmlns:a16="http://schemas.microsoft.com/office/drawing/2014/main" id="{A05F8972-E764-A94F-A1F7-679671C286C0}"/>
                </a:ext>
              </a:extLst>
            </p:cNvPr>
            <p:cNvSpPr/>
            <p:nvPr/>
          </p:nvSpPr>
          <p:spPr>
            <a:xfrm>
              <a:off x="6116023" y="10166911"/>
              <a:ext cx="235584" cy="241490"/>
            </a:xfrm>
            <a:prstGeom prst="rect">
              <a:avLst/>
            </a:prstGeom>
            <a:blipFill>
              <a:blip r:embed="rId1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55" name="object 53">
              <a:extLst>
                <a:ext uri="{FF2B5EF4-FFF2-40B4-BE49-F238E27FC236}">
                  <a16:creationId xmlns:a16="http://schemas.microsoft.com/office/drawing/2014/main" id="{388CF36E-8E3A-9E4B-BF58-AC59C857123E}"/>
                </a:ext>
              </a:extLst>
            </p:cNvPr>
            <p:cNvSpPr/>
            <p:nvPr/>
          </p:nvSpPr>
          <p:spPr>
            <a:xfrm>
              <a:off x="2208280" y="9453860"/>
              <a:ext cx="2690495" cy="526415"/>
            </a:xfrm>
            <a:custGeom>
              <a:avLst/>
              <a:gdLst/>
              <a:ahLst/>
              <a:cxnLst/>
              <a:rect l="l" t="t" r="r" b="b"/>
              <a:pathLst>
                <a:path w="2690495" h="526415">
                  <a:moveTo>
                    <a:pt x="569506" y="525881"/>
                  </a:moveTo>
                  <a:lnTo>
                    <a:pt x="535978" y="452628"/>
                  </a:lnTo>
                  <a:lnTo>
                    <a:pt x="512343" y="400418"/>
                  </a:lnTo>
                  <a:lnTo>
                    <a:pt x="482600" y="334340"/>
                  </a:lnTo>
                  <a:lnTo>
                    <a:pt x="458965" y="281647"/>
                  </a:lnTo>
                  <a:lnTo>
                    <a:pt x="431304" y="219684"/>
                  </a:lnTo>
                  <a:lnTo>
                    <a:pt x="404787" y="159956"/>
                  </a:lnTo>
                  <a:lnTo>
                    <a:pt x="402513" y="154787"/>
                  </a:lnTo>
                  <a:lnTo>
                    <a:pt x="380707" y="105283"/>
                  </a:lnTo>
                  <a:lnTo>
                    <a:pt x="360324" y="58521"/>
                  </a:lnTo>
                  <a:lnTo>
                    <a:pt x="348627" y="31127"/>
                  </a:lnTo>
                  <a:lnTo>
                    <a:pt x="348627" y="332828"/>
                  </a:lnTo>
                  <a:lnTo>
                    <a:pt x="291782" y="334213"/>
                  </a:lnTo>
                  <a:lnTo>
                    <a:pt x="273507" y="334340"/>
                  </a:lnTo>
                  <a:lnTo>
                    <a:pt x="254012" y="334213"/>
                  </a:lnTo>
                  <a:lnTo>
                    <a:pt x="195364" y="332828"/>
                  </a:lnTo>
                  <a:lnTo>
                    <a:pt x="215925" y="283984"/>
                  </a:lnTo>
                  <a:lnTo>
                    <a:pt x="235839" y="237883"/>
                  </a:lnTo>
                  <a:lnTo>
                    <a:pt x="255066" y="194754"/>
                  </a:lnTo>
                  <a:lnTo>
                    <a:pt x="273507" y="154787"/>
                  </a:lnTo>
                  <a:lnTo>
                    <a:pt x="302056" y="222097"/>
                  </a:lnTo>
                  <a:lnTo>
                    <a:pt x="323799" y="273621"/>
                  </a:lnTo>
                  <a:lnTo>
                    <a:pt x="348627" y="332828"/>
                  </a:lnTo>
                  <a:lnTo>
                    <a:pt x="348627" y="31127"/>
                  </a:lnTo>
                  <a:lnTo>
                    <a:pt x="344944" y="22491"/>
                  </a:lnTo>
                  <a:lnTo>
                    <a:pt x="335851" y="12"/>
                  </a:lnTo>
                  <a:lnTo>
                    <a:pt x="234391" y="12"/>
                  </a:lnTo>
                  <a:lnTo>
                    <a:pt x="206260" y="68795"/>
                  </a:lnTo>
                  <a:lnTo>
                    <a:pt x="184467" y="118897"/>
                  </a:lnTo>
                  <a:lnTo>
                    <a:pt x="159283" y="175742"/>
                  </a:lnTo>
                  <a:lnTo>
                    <a:pt x="132041" y="236499"/>
                  </a:lnTo>
                  <a:lnTo>
                    <a:pt x="104076" y="298361"/>
                  </a:lnTo>
                  <a:lnTo>
                    <a:pt x="87718" y="334340"/>
                  </a:lnTo>
                  <a:lnTo>
                    <a:pt x="51320" y="414159"/>
                  </a:lnTo>
                  <a:lnTo>
                    <a:pt x="0" y="525881"/>
                  </a:lnTo>
                  <a:lnTo>
                    <a:pt x="126250" y="525881"/>
                  </a:lnTo>
                  <a:lnTo>
                    <a:pt x="145580" y="465886"/>
                  </a:lnTo>
                  <a:lnTo>
                    <a:pt x="168325" y="401955"/>
                  </a:lnTo>
                  <a:lnTo>
                    <a:pt x="244500" y="400558"/>
                  </a:lnTo>
                  <a:lnTo>
                    <a:pt x="296900" y="400532"/>
                  </a:lnTo>
                  <a:lnTo>
                    <a:pt x="302780" y="400558"/>
                  </a:lnTo>
                  <a:lnTo>
                    <a:pt x="376453" y="401955"/>
                  </a:lnTo>
                  <a:lnTo>
                    <a:pt x="392277" y="441706"/>
                  </a:lnTo>
                  <a:lnTo>
                    <a:pt x="416674" y="504304"/>
                  </a:lnTo>
                  <a:lnTo>
                    <a:pt x="424522" y="525881"/>
                  </a:lnTo>
                  <a:lnTo>
                    <a:pt x="569506" y="525881"/>
                  </a:lnTo>
                  <a:close/>
                </a:path>
                <a:path w="2690495" h="526415">
                  <a:moveTo>
                    <a:pt x="1146873" y="525881"/>
                  </a:moveTo>
                  <a:lnTo>
                    <a:pt x="1098753" y="461276"/>
                  </a:lnTo>
                  <a:lnTo>
                    <a:pt x="1063599" y="409460"/>
                  </a:lnTo>
                  <a:lnTo>
                    <a:pt x="1029258" y="357390"/>
                  </a:lnTo>
                  <a:lnTo>
                    <a:pt x="1001890" y="314642"/>
                  </a:lnTo>
                  <a:lnTo>
                    <a:pt x="987640" y="290753"/>
                  </a:lnTo>
                  <a:lnTo>
                    <a:pt x="1039444" y="268643"/>
                  </a:lnTo>
                  <a:lnTo>
                    <a:pt x="1076540" y="238264"/>
                  </a:lnTo>
                  <a:lnTo>
                    <a:pt x="1098854" y="199580"/>
                  </a:lnTo>
                  <a:lnTo>
                    <a:pt x="1106309" y="152527"/>
                  </a:lnTo>
                  <a:lnTo>
                    <a:pt x="1098715" y="105752"/>
                  </a:lnTo>
                  <a:lnTo>
                    <a:pt x="1077671" y="69062"/>
                  </a:lnTo>
                  <a:lnTo>
                    <a:pt x="1045883" y="41402"/>
                  </a:lnTo>
                  <a:lnTo>
                    <a:pt x="1005992" y="21717"/>
                  </a:lnTo>
                  <a:lnTo>
                    <a:pt x="960666" y="8953"/>
                  </a:lnTo>
                  <a:lnTo>
                    <a:pt x="912583" y="2070"/>
                  </a:lnTo>
                  <a:lnTo>
                    <a:pt x="864412" y="0"/>
                  </a:lnTo>
                  <a:lnTo>
                    <a:pt x="635266" y="0"/>
                  </a:lnTo>
                  <a:lnTo>
                    <a:pt x="638644" y="35979"/>
                  </a:lnTo>
                  <a:lnTo>
                    <a:pt x="640842" y="82778"/>
                  </a:lnTo>
                  <a:lnTo>
                    <a:pt x="642099" y="136601"/>
                  </a:lnTo>
                  <a:lnTo>
                    <a:pt x="642670" y="193662"/>
                  </a:lnTo>
                  <a:lnTo>
                    <a:pt x="642797" y="250177"/>
                  </a:lnTo>
                  <a:lnTo>
                    <a:pt x="642581" y="313677"/>
                  </a:lnTo>
                  <a:lnTo>
                    <a:pt x="641794" y="373291"/>
                  </a:lnTo>
                  <a:lnTo>
                    <a:pt x="640207" y="428726"/>
                  </a:lnTo>
                  <a:lnTo>
                    <a:pt x="637603" y="479691"/>
                  </a:lnTo>
                  <a:lnTo>
                    <a:pt x="633755" y="525881"/>
                  </a:lnTo>
                  <a:lnTo>
                    <a:pt x="780249" y="525881"/>
                  </a:lnTo>
                  <a:lnTo>
                    <a:pt x="776224" y="473417"/>
                  </a:lnTo>
                  <a:lnTo>
                    <a:pt x="773785" y="410451"/>
                  </a:lnTo>
                  <a:lnTo>
                    <a:pt x="772541" y="346151"/>
                  </a:lnTo>
                  <a:lnTo>
                    <a:pt x="772071" y="289674"/>
                  </a:lnTo>
                  <a:lnTo>
                    <a:pt x="772007" y="250177"/>
                  </a:lnTo>
                  <a:lnTo>
                    <a:pt x="772287" y="215087"/>
                  </a:lnTo>
                  <a:lnTo>
                    <a:pt x="773137" y="168859"/>
                  </a:lnTo>
                  <a:lnTo>
                    <a:pt x="774547" y="117284"/>
                  </a:lnTo>
                  <a:lnTo>
                    <a:pt x="776516" y="66103"/>
                  </a:lnTo>
                  <a:lnTo>
                    <a:pt x="816457" y="63373"/>
                  </a:lnTo>
                  <a:lnTo>
                    <a:pt x="833628" y="63119"/>
                  </a:lnTo>
                  <a:lnTo>
                    <a:pt x="874433" y="66408"/>
                  </a:lnTo>
                  <a:lnTo>
                    <a:pt x="919543" y="79362"/>
                  </a:lnTo>
                  <a:lnTo>
                    <a:pt x="956043" y="106540"/>
                  </a:lnTo>
                  <a:lnTo>
                    <a:pt x="971080" y="152527"/>
                  </a:lnTo>
                  <a:lnTo>
                    <a:pt x="960272" y="192862"/>
                  </a:lnTo>
                  <a:lnTo>
                    <a:pt x="933056" y="222300"/>
                  </a:lnTo>
                  <a:lnTo>
                    <a:pt x="897255" y="240322"/>
                  </a:lnTo>
                  <a:lnTo>
                    <a:pt x="848728" y="246164"/>
                  </a:lnTo>
                  <a:lnTo>
                    <a:pt x="820077" y="242709"/>
                  </a:lnTo>
                  <a:lnTo>
                    <a:pt x="845642" y="281927"/>
                  </a:lnTo>
                  <a:lnTo>
                    <a:pt x="872667" y="324866"/>
                  </a:lnTo>
                  <a:lnTo>
                    <a:pt x="899998" y="369531"/>
                  </a:lnTo>
                  <a:lnTo>
                    <a:pt x="926503" y="413956"/>
                  </a:lnTo>
                  <a:lnTo>
                    <a:pt x="951077" y="456145"/>
                  </a:lnTo>
                  <a:lnTo>
                    <a:pt x="972566" y="494118"/>
                  </a:lnTo>
                  <a:lnTo>
                    <a:pt x="989850" y="525881"/>
                  </a:lnTo>
                  <a:lnTo>
                    <a:pt x="1146873" y="525881"/>
                  </a:lnTo>
                  <a:close/>
                </a:path>
                <a:path w="2690495" h="526415">
                  <a:moveTo>
                    <a:pt x="1691716" y="0"/>
                  </a:moveTo>
                  <a:lnTo>
                    <a:pt x="1569237" y="0"/>
                  </a:lnTo>
                  <a:lnTo>
                    <a:pt x="1560245" y="38455"/>
                  </a:lnTo>
                  <a:lnTo>
                    <a:pt x="1546491" y="84518"/>
                  </a:lnTo>
                  <a:lnTo>
                    <a:pt x="1529270" y="135623"/>
                  </a:lnTo>
                  <a:lnTo>
                    <a:pt x="1509915" y="189230"/>
                  </a:lnTo>
                  <a:lnTo>
                    <a:pt x="1489697" y="242824"/>
                  </a:lnTo>
                  <a:lnTo>
                    <a:pt x="1469936" y="293827"/>
                  </a:lnTo>
                  <a:lnTo>
                    <a:pt x="1437017" y="377926"/>
                  </a:lnTo>
                  <a:lnTo>
                    <a:pt x="1421244" y="336550"/>
                  </a:lnTo>
                  <a:lnTo>
                    <a:pt x="1405013" y="293103"/>
                  </a:lnTo>
                  <a:lnTo>
                    <a:pt x="1388529" y="247789"/>
                  </a:lnTo>
                  <a:lnTo>
                    <a:pt x="1371955" y="200799"/>
                  </a:lnTo>
                  <a:lnTo>
                    <a:pt x="1355483" y="152336"/>
                  </a:lnTo>
                  <a:lnTo>
                    <a:pt x="1339303" y="102590"/>
                  </a:lnTo>
                  <a:lnTo>
                    <a:pt x="1323594" y="51739"/>
                  </a:lnTo>
                  <a:lnTo>
                    <a:pt x="1308544" y="0"/>
                  </a:lnTo>
                  <a:lnTo>
                    <a:pt x="1164297" y="0"/>
                  </a:lnTo>
                  <a:lnTo>
                    <a:pt x="1376959" y="525881"/>
                  </a:lnTo>
                  <a:lnTo>
                    <a:pt x="1471587" y="525881"/>
                  </a:lnTo>
                  <a:lnTo>
                    <a:pt x="1489176" y="481304"/>
                  </a:lnTo>
                  <a:lnTo>
                    <a:pt x="1507807" y="434721"/>
                  </a:lnTo>
                  <a:lnTo>
                    <a:pt x="1527302" y="386575"/>
                  </a:lnTo>
                  <a:lnTo>
                    <a:pt x="1568107" y="287439"/>
                  </a:lnTo>
                  <a:lnTo>
                    <a:pt x="1610106" y="187553"/>
                  </a:lnTo>
                  <a:lnTo>
                    <a:pt x="1631086" y="138455"/>
                  </a:lnTo>
                  <a:lnTo>
                    <a:pt x="1651800" y="90525"/>
                  </a:lnTo>
                  <a:lnTo>
                    <a:pt x="1672069" y="44221"/>
                  </a:lnTo>
                  <a:lnTo>
                    <a:pt x="1691716" y="0"/>
                  </a:lnTo>
                  <a:close/>
                </a:path>
                <a:path w="2690495" h="526415">
                  <a:moveTo>
                    <a:pt x="2206663" y="525881"/>
                  </a:moveTo>
                  <a:lnTo>
                    <a:pt x="2173122" y="452628"/>
                  </a:lnTo>
                  <a:lnTo>
                    <a:pt x="2149487" y="400418"/>
                  </a:lnTo>
                  <a:lnTo>
                    <a:pt x="2119744" y="334340"/>
                  </a:lnTo>
                  <a:lnTo>
                    <a:pt x="2096109" y="281647"/>
                  </a:lnTo>
                  <a:lnTo>
                    <a:pt x="2068449" y="219684"/>
                  </a:lnTo>
                  <a:lnTo>
                    <a:pt x="2041944" y="159956"/>
                  </a:lnTo>
                  <a:lnTo>
                    <a:pt x="2017852" y="105283"/>
                  </a:lnTo>
                  <a:lnTo>
                    <a:pt x="1997481" y="58521"/>
                  </a:lnTo>
                  <a:lnTo>
                    <a:pt x="1985784" y="31127"/>
                  </a:lnTo>
                  <a:lnTo>
                    <a:pt x="1985784" y="332828"/>
                  </a:lnTo>
                  <a:lnTo>
                    <a:pt x="1928914" y="334213"/>
                  </a:lnTo>
                  <a:lnTo>
                    <a:pt x="1910638" y="334340"/>
                  </a:lnTo>
                  <a:lnTo>
                    <a:pt x="1891144" y="334213"/>
                  </a:lnTo>
                  <a:lnTo>
                    <a:pt x="1832495" y="332828"/>
                  </a:lnTo>
                  <a:lnTo>
                    <a:pt x="1853057" y="283984"/>
                  </a:lnTo>
                  <a:lnTo>
                    <a:pt x="1872983" y="237883"/>
                  </a:lnTo>
                  <a:lnTo>
                    <a:pt x="1892198" y="194754"/>
                  </a:lnTo>
                  <a:lnTo>
                    <a:pt x="1910638" y="154787"/>
                  </a:lnTo>
                  <a:lnTo>
                    <a:pt x="1939188" y="222097"/>
                  </a:lnTo>
                  <a:lnTo>
                    <a:pt x="1960930" y="273621"/>
                  </a:lnTo>
                  <a:lnTo>
                    <a:pt x="1985784" y="332828"/>
                  </a:lnTo>
                  <a:lnTo>
                    <a:pt x="1985784" y="31127"/>
                  </a:lnTo>
                  <a:lnTo>
                    <a:pt x="1982101" y="22491"/>
                  </a:lnTo>
                  <a:lnTo>
                    <a:pt x="1973008" y="12"/>
                  </a:lnTo>
                  <a:lnTo>
                    <a:pt x="1871535" y="12"/>
                  </a:lnTo>
                  <a:lnTo>
                    <a:pt x="1843405" y="68795"/>
                  </a:lnTo>
                  <a:lnTo>
                    <a:pt x="1821611" y="118897"/>
                  </a:lnTo>
                  <a:lnTo>
                    <a:pt x="1796427" y="175742"/>
                  </a:lnTo>
                  <a:lnTo>
                    <a:pt x="1769186" y="236499"/>
                  </a:lnTo>
                  <a:lnTo>
                    <a:pt x="1741220" y="298361"/>
                  </a:lnTo>
                  <a:lnTo>
                    <a:pt x="1724863" y="334340"/>
                  </a:lnTo>
                  <a:lnTo>
                    <a:pt x="1688452" y="414159"/>
                  </a:lnTo>
                  <a:lnTo>
                    <a:pt x="1637157" y="525881"/>
                  </a:lnTo>
                  <a:lnTo>
                    <a:pt x="1763407" y="525881"/>
                  </a:lnTo>
                  <a:lnTo>
                    <a:pt x="1782711" y="465886"/>
                  </a:lnTo>
                  <a:lnTo>
                    <a:pt x="1805457" y="401955"/>
                  </a:lnTo>
                  <a:lnTo>
                    <a:pt x="1881632" y="400558"/>
                  </a:lnTo>
                  <a:lnTo>
                    <a:pt x="1934032" y="400532"/>
                  </a:lnTo>
                  <a:lnTo>
                    <a:pt x="1939912" y="400558"/>
                  </a:lnTo>
                  <a:lnTo>
                    <a:pt x="2013572" y="401955"/>
                  </a:lnTo>
                  <a:lnTo>
                    <a:pt x="2029421" y="441706"/>
                  </a:lnTo>
                  <a:lnTo>
                    <a:pt x="2053805" y="504304"/>
                  </a:lnTo>
                  <a:lnTo>
                    <a:pt x="2061654" y="525881"/>
                  </a:lnTo>
                  <a:lnTo>
                    <a:pt x="2206663" y="525881"/>
                  </a:lnTo>
                  <a:close/>
                </a:path>
                <a:path w="2690495" h="526415">
                  <a:moveTo>
                    <a:pt x="2690418" y="449300"/>
                  </a:moveTo>
                  <a:lnTo>
                    <a:pt x="2647873" y="452589"/>
                  </a:lnTo>
                  <a:lnTo>
                    <a:pt x="2602496" y="455472"/>
                  </a:lnTo>
                  <a:lnTo>
                    <a:pt x="2552623" y="457504"/>
                  </a:lnTo>
                  <a:lnTo>
                    <a:pt x="2496566" y="458292"/>
                  </a:lnTo>
                  <a:lnTo>
                    <a:pt x="2419197" y="458292"/>
                  </a:lnTo>
                  <a:lnTo>
                    <a:pt x="2417775" y="399046"/>
                  </a:lnTo>
                  <a:lnTo>
                    <a:pt x="2416835" y="339394"/>
                  </a:lnTo>
                  <a:lnTo>
                    <a:pt x="2416327" y="287350"/>
                  </a:lnTo>
                  <a:lnTo>
                    <a:pt x="2416162" y="250926"/>
                  </a:lnTo>
                  <a:lnTo>
                    <a:pt x="2416505" y="210781"/>
                  </a:lnTo>
                  <a:lnTo>
                    <a:pt x="2417470" y="157759"/>
                  </a:lnTo>
                  <a:lnTo>
                    <a:pt x="2418931" y="99707"/>
                  </a:lnTo>
                  <a:lnTo>
                    <a:pt x="2420797" y="44513"/>
                  </a:lnTo>
                  <a:lnTo>
                    <a:pt x="2422931" y="12"/>
                  </a:lnTo>
                  <a:lnTo>
                    <a:pt x="2278684" y="12"/>
                  </a:lnTo>
                  <a:lnTo>
                    <a:pt x="2281212" y="44577"/>
                  </a:lnTo>
                  <a:lnTo>
                    <a:pt x="2283295" y="99910"/>
                  </a:lnTo>
                  <a:lnTo>
                    <a:pt x="2284869" y="158064"/>
                  </a:lnTo>
                  <a:lnTo>
                    <a:pt x="2285860" y="211061"/>
                  </a:lnTo>
                  <a:lnTo>
                    <a:pt x="2286216" y="250926"/>
                  </a:lnTo>
                  <a:lnTo>
                    <a:pt x="2286152" y="290131"/>
                  </a:lnTo>
                  <a:lnTo>
                    <a:pt x="2285733" y="346532"/>
                  </a:lnTo>
                  <a:lnTo>
                    <a:pt x="2284590" y="410832"/>
                  </a:lnTo>
                  <a:lnTo>
                    <a:pt x="2282355" y="473710"/>
                  </a:lnTo>
                  <a:lnTo>
                    <a:pt x="2278684" y="525894"/>
                  </a:lnTo>
                  <a:lnTo>
                    <a:pt x="2690418" y="525894"/>
                  </a:lnTo>
                  <a:lnTo>
                    <a:pt x="2690418" y="44930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</p:grpSp>
      <p:sp>
        <p:nvSpPr>
          <p:cNvPr id="56" name="object 17">
            <a:extLst>
              <a:ext uri="{FF2B5EF4-FFF2-40B4-BE49-F238E27FC236}">
                <a16:creationId xmlns:a16="http://schemas.microsoft.com/office/drawing/2014/main" id="{D875B128-FD22-364C-83F6-0BBB94EADCF5}"/>
              </a:ext>
            </a:extLst>
          </p:cNvPr>
          <p:cNvSpPr txBox="1"/>
          <p:nvPr/>
        </p:nvSpPr>
        <p:spPr>
          <a:xfrm>
            <a:off x="8556440" y="5894499"/>
            <a:ext cx="3333394" cy="319885"/>
          </a:xfrm>
          <a:prstGeom prst="rect">
            <a:avLst/>
          </a:prstGeom>
        </p:spPr>
        <p:txBody>
          <a:bodyPr vert="horz" wrap="square" lIns="0" tIns="12062" rIns="0" bIns="0" rtlCol="0">
            <a:spAutoFit/>
          </a:bodyPr>
          <a:lstStyle/>
          <a:p>
            <a:pPr marL="12697" algn="r">
              <a:lnSpc>
                <a:spcPct val="100000"/>
              </a:lnSpc>
              <a:spcBef>
                <a:spcPts val="95"/>
              </a:spcBef>
            </a:pPr>
            <a:r>
              <a:rPr sz="2000" spc="-30">
                <a:latin typeface="BNPP Sans"/>
                <a:cs typeface="BNPP Sans"/>
              </a:rPr>
              <a:t>For </a:t>
            </a:r>
            <a:r>
              <a:rPr sz="2000" spc="-5">
                <a:latin typeface="BNPP Sans"/>
                <a:cs typeface="BNPP Sans"/>
              </a:rPr>
              <a:t>the many journeys in</a:t>
            </a:r>
            <a:r>
              <a:rPr sz="2000" spc="-15">
                <a:latin typeface="BNPP Sans"/>
                <a:cs typeface="BNPP Sans"/>
              </a:rPr>
              <a:t> </a:t>
            </a:r>
            <a:r>
              <a:rPr sz="2000" spc="-5">
                <a:latin typeface="BNPP Sans"/>
                <a:cs typeface="BNPP Sans"/>
              </a:rPr>
              <a:t>life</a:t>
            </a:r>
            <a:endParaRPr sz="2000">
              <a:latin typeface="BNPP Sans"/>
              <a:cs typeface="BNPP Sans"/>
            </a:endParaRPr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E3990B9E-7E28-3243-9C5B-24DDF6890EC1}"/>
              </a:ext>
            </a:extLst>
          </p:cNvPr>
          <p:cNvCxnSpPr/>
          <p:nvPr/>
        </p:nvCxnSpPr>
        <p:spPr>
          <a:xfrm flipH="1">
            <a:off x="0" y="5238928"/>
            <a:ext cx="12192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>
          <a:xfrm>
            <a:off x="1463922" y="4629036"/>
            <a:ext cx="4656000" cy="887713"/>
          </a:xfrm>
          <a:prstGeom prst="rect">
            <a:avLst/>
          </a:prstGeom>
          <a:solidFill>
            <a:srgbClr val="009159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429" tIns="119517" rIns="121429" bIns="1195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4329"/>
            <a:endParaRPr lang="fr-FR" sz="1300" noProof="0">
              <a:solidFill>
                <a:srgbClr val="43B02A"/>
              </a:solidFill>
            </a:endParaRPr>
          </a:p>
        </p:txBody>
      </p:sp>
      <p:sp>
        <p:nvSpPr>
          <p:cNvPr id="19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1641409" y="4775576"/>
            <a:ext cx="4224000" cy="623087"/>
          </a:xfrm>
          <a:prstGeom prst="rect">
            <a:avLst/>
          </a:prstGeom>
        </p:spPr>
        <p:txBody>
          <a:bodyPr lIns="0" tIns="45712" rIns="0" bIns="45712" anchor="ctr">
            <a:noAutofit/>
          </a:bodyPr>
          <a:lstStyle>
            <a:lvl1pPr marL="0" indent="0" algn="l">
              <a:spcBef>
                <a:spcPts val="300"/>
              </a:spcBef>
              <a:buNone/>
              <a:defRPr sz="1600" b="0" i="0" cap="all" baseline="0">
                <a:solidFill>
                  <a:schemeClr val="bg1"/>
                </a:solidFill>
                <a:latin typeface="BNPP Sans" panose="02000000000000000000" pitchFamily="2" charset="0"/>
              </a:defRPr>
            </a:lvl1pPr>
            <a:lvl2pPr marL="607166" indent="0">
              <a:buNone/>
              <a:defRPr sz="2699" b="1"/>
            </a:lvl2pPr>
            <a:lvl3pPr marL="1214329" indent="0">
              <a:buNone/>
              <a:defRPr sz="2400" b="1"/>
            </a:lvl3pPr>
            <a:lvl4pPr marL="1821496" indent="0">
              <a:buNone/>
              <a:defRPr sz="2100" b="1"/>
            </a:lvl4pPr>
            <a:lvl5pPr marL="2428660" indent="0">
              <a:buNone/>
              <a:defRPr sz="2100" b="1"/>
            </a:lvl5pPr>
            <a:lvl6pPr marL="3035825" indent="0">
              <a:buNone/>
              <a:defRPr sz="2100" b="1"/>
            </a:lvl6pPr>
            <a:lvl7pPr marL="3642989" indent="0">
              <a:buNone/>
              <a:defRPr sz="2100" b="1"/>
            </a:lvl7pPr>
            <a:lvl8pPr marL="4250155" indent="0">
              <a:buNone/>
              <a:defRPr sz="2100" b="1"/>
            </a:lvl8pPr>
            <a:lvl9pPr marL="4857319" indent="0">
              <a:buNone/>
              <a:defRPr sz="2100" b="1"/>
            </a:lvl9pPr>
          </a:lstStyle>
          <a:p>
            <a:r>
              <a:rPr lang="fr-FR" noProof="0" err="1"/>
              <a:t>author’s</a:t>
            </a:r>
            <a:r>
              <a:rPr lang="fr-FR" noProof="0"/>
              <a:t> </a:t>
            </a:r>
            <a:r>
              <a:rPr lang="fr-FR" noProof="0" err="1"/>
              <a:t>name</a:t>
            </a:r>
            <a:endParaRPr lang="fr-FR" noProof="0"/>
          </a:p>
          <a:p>
            <a:r>
              <a:rPr lang="fr-FR" noProof="0"/>
              <a:t>Location, Date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2541FC13-43AF-B548-9E1F-4514CEE89CDE}"/>
              </a:ext>
            </a:extLst>
          </p:cNvPr>
          <p:cNvSpPr txBox="1"/>
          <p:nvPr/>
        </p:nvSpPr>
        <p:spPr>
          <a:xfrm>
            <a:off x="12425749" y="3555177"/>
            <a:ext cx="0" cy="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algn="l"/>
            <a:endParaRPr lang="fr-FR" sz="1800"/>
          </a:p>
        </p:txBody>
      </p:sp>
      <p:pic>
        <p:nvPicPr>
          <p:cNvPr id="27" name="Image 26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6882" y="6315825"/>
            <a:ext cx="1152921" cy="395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90833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Foot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14"/>
          <p:cNvCxnSpPr/>
          <p:nvPr/>
        </p:nvCxnSpPr>
        <p:spPr>
          <a:xfrm>
            <a:off x="456772" y="6102440"/>
            <a:ext cx="1128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-21367" y="608224"/>
            <a:ext cx="696226" cy="0"/>
          </a:xfrm>
          <a:prstGeom prst="line">
            <a:avLst/>
          </a:prstGeom>
          <a:ln>
            <a:solidFill>
              <a:srgbClr val="0091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83250" y="163319"/>
            <a:ext cx="7104000" cy="43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1211636" rtl="0" eaLnBrk="1" latinLnBrk="0" hangingPunct="1">
              <a:spcBef>
                <a:spcPts val="266"/>
              </a:spcBef>
              <a:buClr>
                <a:schemeClr val="accent4"/>
              </a:buClr>
              <a:buSzPct val="100000"/>
              <a:buFontTx/>
              <a:buNone/>
              <a:defRPr lang="en-GB" sz="2400" b="1" kern="1200" cap="all" spc="300" baseline="0" noProof="0" dirty="0">
                <a:solidFill>
                  <a:schemeClr val="tx2"/>
                </a:solidFill>
                <a:latin typeface="BNPP Sans Condensed" panose="02000000000000000000" pitchFamily="50" charset="0"/>
                <a:ea typeface="+mn-ea"/>
                <a:cs typeface="+mn-cs"/>
              </a:defRPr>
            </a:lvl1pPr>
            <a:lvl2pPr marL="607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4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1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29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36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4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50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58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INSERT TITLE</a:t>
            </a:r>
          </a:p>
        </p:txBody>
      </p:sp>
      <p:pic>
        <p:nvPicPr>
          <p:cNvPr id="12" name="Image 11" descr="PPT_43-06.png">
            <a:extLst>
              <a:ext uri="{FF2B5EF4-FFF2-40B4-BE49-F238E27FC236}">
                <a16:creationId xmlns:a16="http://schemas.microsoft.com/office/drawing/2014/main" id="{3685EB29-D7A6-694B-8856-D08B7EC220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3158" y="6261249"/>
            <a:ext cx="1875651" cy="433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97906" y="6401600"/>
            <a:ext cx="2396188" cy="224671"/>
          </a:xfrm>
          <a:prstGeom prst="rect">
            <a:avLst/>
          </a:prstGeom>
          <a:noFill/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DFCFCC0-52A1-C040-9A48-16D88BEABC2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6772" y="901345"/>
            <a:ext cx="11280000" cy="490193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1211636" rtl="0" eaLnBrk="1" latinLnBrk="0" hangingPunct="1"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None/>
              <a:defRPr lang="fr-FR" sz="2000" b="0" kern="1200" baseline="0" noProof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BNPP Sans Light" panose="02000503020000020004" pitchFamily="50" charset="0"/>
                <a:ea typeface="+mn-ea"/>
                <a:cs typeface="+mn-cs"/>
              </a:defRPr>
            </a:lvl1pPr>
            <a:lvl2pPr marL="285693" indent="-285693">
              <a:spcBef>
                <a:spcPts val="600"/>
              </a:spcBef>
              <a:spcAft>
                <a:spcPts val="600"/>
              </a:spcAft>
              <a:buClr>
                <a:srgbClr val="00A091"/>
              </a:buClr>
              <a:buFont typeface="Wingdings" panose="05000000000000000000" pitchFamily="2" charset="2"/>
              <a:buChar char="v"/>
              <a:defRPr lang="en-US" sz="2000" b="1" kern="1200" baseline="0" dirty="0" smtClean="0">
                <a:solidFill>
                  <a:schemeClr val="tx1"/>
                </a:solidFill>
                <a:latin typeface="BNPP Sans Light" panose="02000503020000020004" pitchFamily="50" charset="0"/>
                <a:ea typeface="+mn-ea"/>
                <a:cs typeface="+mn-cs"/>
              </a:defRPr>
            </a:lvl2pPr>
            <a:lvl3pPr marL="698360" indent="-342831">
              <a:spcBef>
                <a:spcPts val="300"/>
              </a:spcBef>
              <a:spcAft>
                <a:spcPts val="600"/>
              </a:spcAft>
              <a:buClr>
                <a:srgbClr val="00A091"/>
              </a:buClr>
              <a:buSzPct val="100000"/>
              <a:buFont typeface="Arial" panose="020B0604020202020204" pitchFamily="34" charset="0"/>
              <a:buChar char="•"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  <a:latin typeface="BNPP Sans Light" panose="02000503020000020004" pitchFamily="50" charset="0"/>
              </a:defRPr>
            </a:lvl3pPr>
            <a:lvl4pPr marL="893583" indent="-171416">
              <a:spcBef>
                <a:spcPts val="300"/>
              </a:spcBef>
              <a:buClr>
                <a:srgbClr val="00A091"/>
              </a:buClr>
              <a:buFont typeface="Courier New" panose="02070309020205020404" pitchFamily="49" charset="0"/>
              <a:buChar char="o"/>
              <a:defRPr lang="en-US" sz="1400" b="0" kern="1200" baseline="0" dirty="0" smtClean="0">
                <a:solidFill>
                  <a:schemeClr val="tx1"/>
                </a:solidFill>
                <a:latin typeface="BNPPSans-Light" panose="02000503020000020004" pitchFamily="2" charset="0"/>
                <a:ea typeface="+mn-ea"/>
                <a:cs typeface="+mn-cs"/>
              </a:defRPr>
            </a:lvl4pPr>
            <a:lvl5pPr marL="524145" indent="0">
              <a:spcBef>
                <a:spcPts val="1200"/>
              </a:spcBef>
              <a:buFontTx/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638422" indent="0">
              <a:spcBef>
                <a:spcPts val="0"/>
              </a:spcBef>
              <a:buClr>
                <a:schemeClr val="bg1"/>
              </a:buClr>
              <a:buFontTx/>
              <a:buNone/>
              <a:defRPr lang="en-US" sz="14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fr-FR" noProof="0" err="1"/>
              <a:t>Text</a:t>
            </a:r>
            <a:endParaRPr lang="fr-FR" noProof="0"/>
          </a:p>
          <a:p>
            <a:pPr lvl="1"/>
            <a:r>
              <a:rPr lang="fr-FR" noProof="0"/>
              <a:t>Text1</a:t>
            </a:r>
          </a:p>
          <a:p>
            <a:pPr lvl="1"/>
            <a:r>
              <a:rPr lang="fr-FR" noProof="0"/>
              <a:t>Text1</a:t>
            </a:r>
          </a:p>
          <a:p>
            <a:pPr lvl="2"/>
            <a:r>
              <a:rPr lang="fr-FR" noProof="0" err="1"/>
              <a:t>Text</a:t>
            </a:r>
            <a:r>
              <a:rPr lang="fr-FR" noProof="0"/>
              <a:t> 2</a:t>
            </a:r>
          </a:p>
          <a:p>
            <a:pPr lvl="2"/>
            <a:r>
              <a:rPr lang="fr-FR" noProof="0" err="1"/>
              <a:t>Text</a:t>
            </a:r>
            <a:r>
              <a:rPr lang="fr-FR" noProof="0"/>
              <a:t> 2</a:t>
            </a:r>
          </a:p>
          <a:p>
            <a:pPr lvl="3"/>
            <a:r>
              <a:rPr lang="fr-FR" noProof="0" err="1"/>
              <a:t>Text</a:t>
            </a:r>
            <a:r>
              <a:rPr lang="fr-FR" noProof="0"/>
              <a:t> 3</a:t>
            </a:r>
          </a:p>
          <a:p>
            <a:pPr lvl="3"/>
            <a:r>
              <a:rPr lang="fr-FR" noProof="0" err="1"/>
              <a:t>Text</a:t>
            </a:r>
            <a:r>
              <a:rPr lang="fr-FR" noProof="0"/>
              <a:t> 3</a:t>
            </a:r>
          </a:p>
          <a:p>
            <a:pPr lvl="3"/>
            <a:endParaRPr lang="fr-FR" noProof="0"/>
          </a:p>
          <a:p>
            <a:pPr lvl="1"/>
            <a:endParaRPr lang="fr-FR" noProof="0"/>
          </a:p>
          <a:p>
            <a:pPr lvl="1"/>
            <a:endParaRPr lang="fr-FR" noProof="0"/>
          </a:p>
          <a:p>
            <a:pPr lvl="1"/>
            <a:endParaRPr lang="fr-FR" noProof="0"/>
          </a:p>
        </p:txBody>
      </p:sp>
      <p:sp>
        <p:nvSpPr>
          <p:cNvPr id="17" name="Espace réservé du numéro de diapositive 1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49834" y="6395560"/>
            <a:ext cx="24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8C71CAF9-4461-454A-B702-D536C3775752}" type="slidenum">
              <a:rPr lang="en-US" smtClean="0"/>
              <a:t>‹N°›</a:t>
            </a:fld>
            <a:endParaRPr lang="en-US"/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6882" y="6315825"/>
            <a:ext cx="1152921" cy="395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29618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ot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14"/>
          <p:cNvCxnSpPr/>
          <p:nvPr/>
        </p:nvCxnSpPr>
        <p:spPr>
          <a:xfrm>
            <a:off x="456772" y="6102440"/>
            <a:ext cx="1128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-21367" y="608224"/>
            <a:ext cx="696226" cy="0"/>
          </a:xfrm>
          <a:prstGeom prst="line">
            <a:avLst/>
          </a:prstGeom>
          <a:ln>
            <a:solidFill>
              <a:srgbClr val="0091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83250" y="163319"/>
            <a:ext cx="7104000" cy="43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1211636" rtl="0" eaLnBrk="1" latinLnBrk="0" hangingPunct="1">
              <a:spcBef>
                <a:spcPts val="266"/>
              </a:spcBef>
              <a:buClr>
                <a:schemeClr val="accent4"/>
              </a:buClr>
              <a:buSzPct val="100000"/>
              <a:buFontTx/>
              <a:buNone/>
              <a:defRPr lang="en-GB" sz="2400" b="1" kern="1200" cap="all" spc="300" baseline="0" noProof="0" dirty="0">
                <a:solidFill>
                  <a:schemeClr val="tx2"/>
                </a:solidFill>
                <a:latin typeface="BNPP Sans Condensed" panose="02000000000000000000" pitchFamily="50" charset="0"/>
                <a:ea typeface="+mn-ea"/>
                <a:cs typeface="+mn-cs"/>
              </a:defRPr>
            </a:lvl1pPr>
            <a:lvl2pPr marL="607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4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1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29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36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4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50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58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INSERT TITLE</a:t>
            </a:r>
          </a:p>
        </p:txBody>
      </p:sp>
      <p:pic>
        <p:nvPicPr>
          <p:cNvPr id="12" name="Image 11" descr="PPT_43-06.png">
            <a:extLst>
              <a:ext uri="{FF2B5EF4-FFF2-40B4-BE49-F238E27FC236}">
                <a16:creationId xmlns:a16="http://schemas.microsoft.com/office/drawing/2014/main" id="{3685EB29-D7A6-694B-8856-D08B7EC220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3158" y="6261249"/>
            <a:ext cx="1875651" cy="433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97906" y="6401600"/>
            <a:ext cx="2396188" cy="224671"/>
          </a:xfrm>
          <a:prstGeom prst="rect">
            <a:avLst/>
          </a:prstGeom>
          <a:noFill/>
        </p:spPr>
      </p:pic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8D4611A-43C4-403E-9601-13FF8ED920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1CAF9-4461-454A-B702-D536C3775752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48376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Foot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14"/>
          <p:cNvCxnSpPr/>
          <p:nvPr/>
        </p:nvCxnSpPr>
        <p:spPr>
          <a:xfrm>
            <a:off x="456772" y="6102440"/>
            <a:ext cx="1128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-21367" y="608224"/>
            <a:ext cx="696226" cy="0"/>
          </a:xfrm>
          <a:prstGeom prst="line">
            <a:avLst/>
          </a:prstGeom>
          <a:ln>
            <a:solidFill>
              <a:srgbClr val="0091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83250" y="163319"/>
            <a:ext cx="7104000" cy="43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1211636" rtl="0" eaLnBrk="1" latinLnBrk="0" hangingPunct="1">
              <a:spcBef>
                <a:spcPts val="266"/>
              </a:spcBef>
              <a:buClr>
                <a:schemeClr val="accent4"/>
              </a:buClr>
              <a:buSzPct val="100000"/>
              <a:buFontTx/>
              <a:buNone/>
              <a:defRPr lang="en-GB" sz="2400" b="1" kern="1200" cap="all" spc="300" baseline="0" noProof="0" dirty="0">
                <a:solidFill>
                  <a:schemeClr val="tx2"/>
                </a:solidFill>
                <a:latin typeface="BNPP Sans Condensed" panose="02000000000000000000" pitchFamily="50" charset="0"/>
                <a:ea typeface="+mn-ea"/>
                <a:cs typeface="+mn-cs"/>
              </a:defRPr>
            </a:lvl1pPr>
            <a:lvl2pPr marL="607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4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1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29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36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4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50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58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INSERT TITLE</a:t>
            </a:r>
          </a:p>
        </p:txBody>
      </p:sp>
      <p:pic>
        <p:nvPicPr>
          <p:cNvPr id="12" name="Image 11" descr="PPT_43-06.png">
            <a:extLst>
              <a:ext uri="{FF2B5EF4-FFF2-40B4-BE49-F238E27FC236}">
                <a16:creationId xmlns:a16="http://schemas.microsoft.com/office/drawing/2014/main" id="{3685EB29-D7A6-694B-8856-D08B7EC220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3158" y="6261249"/>
            <a:ext cx="1875651" cy="433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97906" y="6401600"/>
            <a:ext cx="2396188" cy="224671"/>
          </a:xfrm>
          <a:prstGeom prst="rect">
            <a:avLst/>
          </a:prstGeom>
          <a:noFill/>
        </p:spPr>
      </p:pic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8D4611A-43C4-403E-9601-13FF8ED920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1CAF9-4461-454A-B702-D536C3775752}" type="slidenum">
              <a:rPr lang="en-US" smtClean="0"/>
              <a:t>‹N°›</a:t>
            </a:fld>
            <a:endParaRPr lang="en-US"/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6882" y="6315825"/>
            <a:ext cx="1152921" cy="395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16679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and Foot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14"/>
          <p:cNvCxnSpPr/>
          <p:nvPr/>
        </p:nvCxnSpPr>
        <p:spPr>
          <a:xfrm>
            <a:off x="456772" y="6102440"/>
            <a:ext cx="1128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-21367" y="608224"/>
            <a:ext cx="696226" cy="0"/>
          </a:xfrm>
          <a:prstGeom prst="line">
            <a:avLst/>
          </a:prstGeom>
          <a:ln>
            <a:solidFill>
              <a:srgbClr val="0091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83250" y="163319"/>
            <a:ext cx="7104000" cy="43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2400" b="1" cap="all" spc="300" baseline="0">
                <a:solidFill>
                  <a:schemeClr val="tx2"/>
                </a:solidFill>
                <a:latin typeface="BNPP Sans Condensed" panose="02000000000000000000" pitchFamily="2" charset="0"/>
              </a:defRPr>
            </a:lvl1pPr>
            <a:lvl2pPr marL="607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4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1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29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36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4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50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58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INSERT TITLE</a:t>
            </a:r>
          </a:p>
        </p:txBody>
      </p:sp>
      <p:pic>
        <p:nvPicPr>
          <p:cNvPr id="12" name="Image 11" descr="PPT_43-06.png">
            <a:extLst>
              <a:ext uri="{FF2B5EF4-FFF2-40B4-BE49-F238E27FC236}">
                <a16:creationId xmlns:a16="http://schemas.microsoft.com/office/drawing/2014/main" id="{3685EB29-D7A6-694B-8856-D08B7EC220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3158" y="6261249"/>
            <a:ext cx="1875651" cy="433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97906" y="6401600"/>
            <a:ext cx="2396188" cy="224671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8D4611A-43C4-403E-9601-13FF8ED920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1CAF9-4461-454A-B702-D536C3775752}" type="slidenum">
              <a:rPr lang="en-US" smtClean="0"/>
              <a:t>‹N°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A01576A-2C74-437F-8D89-75E957B2B663}"/>
              </a:ext>
            </a:extLst>
          </p:cNvPr>
          <p:cNvSpPr/>
          <p:nvPr/>
        </p:nvSpPr>
        <p:spPr>
          <a:xfrm>
            <a:off x="-8" y="0"/>
            <a:ext cx="12192000" cy="6865886"/>
          </a:xfrm>
          <a:prstGeom prst="rect">
            <a:avLst/>
          </a:prstGeom>
          <a:solidFill>
            <a:srgbClr val="F2F2F2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DD796C5-3E29-46EA-BF65-7EFD823DBB3A}"/>
              </a:ext>
            </a:extLst>
          </p:cNvPr>
          <p:cNvSpPr/>
          <p:nvPr/>
        </p:nvSpPr>
        <p:spPr>
          <a:xfrm>
            <a:off x="0" y="2543619"/>
            <a:ext cx="12192000" cy="4314379"/>
          </a:xfrm>
          <a:prstGeom prst="rect">
            <a:avLst/>
          </a:prstGeom>
          <a:solidFill>
            <a:schemeClr val="tx2">
              <a:lumMod val="50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11599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ONE I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955" y="5082369"/>
            <a:ext cx="12191045" cy="1775632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429" tIns="119517" rIns="121429" bIns="1195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4329"/>
            <a:endParaRPr lang="fr-FR" sz="1900" noProof="0">
              <a:solidFill>
                <a:srgbClr val="000000"/>
              </a:solidFill>
            </a:endParaRPr>
          </a:p>
        </p:txBody>
      </p:sp>
      <p:grpSp>
        <p:nvGrpSpPr>
          <p:cNvPr id="37" name="Groupe 36">
            <a:extLst>
              <a:ext uri="{FF2B5EF4-FFF2-40B4-BE49-F238E27FC236}">
                <a16:creationId xmlns:a16="http://schemas.microsoft.com/office/drawing/2014/main" id="{F59B009B-FE4C-B441-96D1-0EC131CA52AA}"/>
              </a:ext>
            </a:extLst>
          </p:cNvPr>
          <p:cNvGrpSpPr/>
          <p:nvPr/>
        </p:nvGrpSpPr>
        <p:grpSpPr>
          <a:xfrm>
            <a:off x="409817" y="5669999"/>
            <a:ext cx="3416810" cy="784307"/>
            <a:chOff x="527050" y="9259554"/>
            <a:chExt cx="5824557" cy="1345006"/>
          </a:xfrm>
        </p:grpSpPr>
        <p:sp>
          <p:nvSpPr>
            <p:cNvPr id="38" name="object 36">
              <a:extLst>
                <a:ext uri="{FF2B5EF4-FFF2-40B4-BE49-F238E27FC236}">
                  <a16:creationId xmlns:a16="http://schemas.microsoft.com/office/drawing/2014/main" id="{B148BA60-EFEE-5C4F-BE92-482E8257290F}"/>
                </a:ext>
              </a:extLst>
            </p:cNvPr>
            <p:cNvSpPr/>
            <p:nvPr/>
          </p:nvSpPr>
          <p:spPr>
            <a:xfrm>
              <a:off x="527050" y="9259554"/>
              <a:ext cx="1344995" cy="1345006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39" name="object 37">
              <a:extLst>
                <a:ext uri="{FF2B5EF4-FFF2-40B4-BE49-F238E27FC236}">
                  <a16:creationId xmlns:a16="http://schemas.microsoft.com/office/drawing/2014/main" id="{77764551-03EC-C24F-8C39-5ECC917DA1E3}"/>
                </a:ext>
              </a:extLst>
            </p:cNvPr>
            <p:cNvSpPr/>
            <p:nvPr/>
          </p:nvSpPr>
          <p:spPr>
            <a:xfrm>
              <a:off x="656826" y="10038923"/>
              <a:ext cx="311173" cy="374815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40" name="object 38">
              <a:extLst>
                <a:ext uri="{FF2B5EF4-FFF2-40B4-BE49-F238E27FC236}">
                  <a16:creationId xmlns:a16="http://schemas.microsoft.com/office/drawing/2014/main" id="{87D2EB5F-CBAD-6B40-80CF-ABDEC5BBC197}"/>
                </a:ext>
              </a:extLst>
            </p:cNvPr>
            <p:cNvSpPr/>
            <p:nvPr/>
          </p:nvSpPr>
          <p:spPr>
            <a:xfrm>
              <a:off x="746918" y="9408785"/>
              <a:ext cx="973677" cy="591385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41" name="object 39">
              <a:extLst>
                <a:ext uri="{FF2B5EF4-FFF2-40B4-BE49-F238E27FC236}">
                  <a16:creationId xmlns:a16="http://schemas.microsoft.com/office/drawing/2014/main" id="{F1A071DD-FF41-EA42-96F7-CE6003CEE618}"/>
                </a:ext>
              </a:extLst>
            </p:cNvPr>
            <p:cNvSpPr/>
            <p:nvPr/>
          </p:nvSpPr>
          <p:spPr>
            <a:xfrm>
              <a:off x="1039139" y="10249178"/>
              <a:ext cx="290682" cy="192590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42" name="object 40">
              <a:extLst>
                <a:ext uri="{FF2B5EF4-FFF2-40B4-BE49-F238E27FC236}">
                  <a16:creationId xmlns:a16="http://schemas.microsoft.com/office/drawing/2014/main" id="{8B4B82F2-1356-D44B-BBB8-1BCD10ECC73A}"/>
                </a:ext>
              </a:extLst>
            </p:cNvPr>
            <p:cNvSpPr/>
            <p:nvPr/>
          </p:nvSpPr>
          <p:spPr>
            <a:xfrm>
              <a:off x="660988" y="9408787"/>
              <a:ext cx="1064895" cy="1024255"/>
            </a:xfrm>
            <a:custGeom>
              <a:avLst/>
              <a:gdLst/>
              <a:ahLst/>
              <a:cxnLst/>
              <a:rect l="l" t="t" r="r" b="b"/>
              <a:pathLst>
                <a:path w="1064895" h="1024254">
                  <a:moveTo>
                    <a:pt x="306997" y="931722"/>
                  </a:moveTo>
                  <a:lnTo>
                    <a:pt x="273469" y="917727"/>
                  </a:lnTo>
                  <a:lnTo>
                    <a:pt x="243357" y="901534"/>
                  </a:lnTo>
                  <a:lnTo>
                    <a:pt x="215099" y="882040"/>
                  </a:lnTo>
                  <a:lnTo>
                    <a:pt x="187134" y="858126"/>
                  </a:lnTo>
                  <a:lnTo>
                    <a:pt x="196024" y="835736"/>
                  </a:lnTo>
                  <a:lnTo>
                    <a:pt x="206133" y="814628"/>
                  </a:lnTo>
                  <a:lnTo>
                    <a:pt x="218059" y="793521"/>
                  </a:lnTo>
                  <a:lnTo>
                    <a:pt x="232448" y="771118"/>
                  </a:lnTo>
                  <a:lnTo>
                    <a:pt x="180060" y="779157"/>
                  </a:lnTo>
                  <a:lnTo>
                    <a:pt x="156070" y="783170"/>
                  </a:lnTo>
                  <a:lnTo>
                    <a:pt x="131673" y="787603"/>
                  </a:lnTo>
                  <a:lnTo>
                    <a:pt x="113817" y="751916"/>
                  </a:lnTo>
                  <a:lnTo>
                    <a:pt x="99987" y="715010"/>
                  </a:lnTo>
                  <a:lnTo>
                    <a:pt x="88658" y="675030"/>
                  </a:lnTo>
                  <a:lnTo>
                    <a:pt x="78295" y="630135"/>
                  </a:lnTo>
                  <a:lnTo>
                    <a:pt x="73723" y="677710"/>
                  </a:lnTo>
                  <a:lnTo>
                    <a:pt x="71602" y="720369"/>
                  </a:lnTo>
                  <a:lnTo>
                    <a:pt x="72656" y="760425"/>
                  </a:lnTo>
                  <a:lnTo>
                    <a:pt x="77647" y="800201"/>
                  </a:lnTo>
                  <a:lnTo>
                    <a:pt x="56121" y="806475"/>
                  </a:lnTo>
                  <a:lnTo>
                    <a:pt x="36779" y="812825"/>
                  </a:lnTo>
                  <a:lnTo>
                    <a:pt x="18465" y="819683"/>
                  </a:lnTo>
                  <a:lnTo>
                    <a:pt x="0" y="827544"/>
                  </a:lnTo>
                  <a:lnTo>
                    <a:pt x="25539" y="842949"/>
                  </a:lnTo>
                  <a:lnTo>
                    <a:pt x="50177" y="857123"/>
                  </a:lnTo>
                  <a:lnTo>
                    <a:pt x="75577" y="870673"/>
                  </a:lnTo>
                  <a:lnTo>
                    <a:pt x="103416" y="884250"/>
                  </a:lnTo>
                  <a:lnTo>
                    <a:pt x="119672" y="915924"/>
                  </a:lnTo>
                  <a:lnTo>
                    <a:pt x="137401" y="943838"/>
                  </a:lnTo>
                  <a:lnTo>
                    <a:pt x="157822" y="969797"/>
                  </a:lnTo>
                  <a:lnTo>
                    <a:pt x="182156" y="995578"/>
                  </a:lnTo>
                  <a:lnTo>
                    <a:pt x="177050" y="974115"/>
                  </a:lnTo>
                  <a:lnTo>
                    <a:pt x="174193" y="953655"/>
                  </a:lnTo>
                  <a:lnTo>
                    <a:pt x="173532" y="932916"/>
                  </a:lnTo>
                  <a:lnTo>
                    <a:pt x="175031" y="910602"/>
                  </a:lnTo>
                  <a:lnTo>
                    <a:pt x="207213" y="919124"/>
                  </a:lnTo>
                  <a:lnTo>
                    <a:pt x="238772" y="925423"/>
                  </a:lnTo>
                  <a:lnTo>
                    <a:pt x="271449" y="929589"/>
                  </a:lnTo>
                  <a:lnTo>
                    <a:pt x="306997" y="931722"/>
                  </a:lnTo>
                  <a:close/>
                </a:path>
                <a:path w="1064895" h="1024254">
                  <a:moveTo>
                    <a:pt x="615988" y="409270"/>
                  </a:moveTo>
                  <a:lnTo>
                    <a:pt x="598665" y="399148"/>
                  </a:lnTo>
                  <a:lnTo>
                    <a:pt x="551307" y="375627"/>
                  </a:lnTo>
                  <a:lnTo>
                    <a:pt x="480910" y="348996"/>
                  </a:lnTo>
                  <a:lnTo>
                    <a:pt x="394436" y="329514"/>
                  </a:lnTo>
                  <a:lnTo>
                    <a:pt x="400062" y="313918"/>
                  </a:lnTo>
                  <a:lnTo>
                    <a:pt x="408990" y="294474"/>
                  </a:lnTo>
                  <a:lnTo>
                    <a:pt x="419823" y="274561"/>
                  </a:lnTo>
                  <a:lnTo>
                    <a:pt x="431177" y="257530"/>
                  </a:lnTo>
                  <a:lnTo>
                    <a:pt x="407885" y="264287"/>
                  </a:lnTo>
                  <a:lnTo>
                    <a:pt x="374865" y="278472"/>
                  </a:lnTo>
                  <a:lnTo>
                    <a:pt x="338099" y="298259"/>
                  </a:lnTo>
                  <a:lnTo>
                    <a:pt x="303542" y="321818"/>
                  </a:lnTo>
                  <a:lnTo>
                    <a:pt x="283425" y="320662"/>
                  </a:lnTo>
                  <a:lnTo>
                    <a:pt x="259664" y="320154"/>
                  </a:lnTo>
                  <a:lnTo>
                    <a:pt x="228015" y="320522"/>
                  </a:lnTo>
                  <a:lnTo>
                    <a:pt x="190906" y="323684"/>
                  </a:lnTo>
                  <a:lnTo>
                    <a:pt x="153314" y="329298"/>
                  </a:lnTo>
                  <a:lnTo>
                    <a:pt x="120065" y="336334"/>
                  </a:lnTo>
                  <a:lnTo>
                    <a:pt x="95986" y="343763"/>
                  </a:lnTo>
                  <a:lnTo>
                    <a:pt x="132740" y="347218"/>
                  </a:lnTo>
                  <a:lnTo>
                    <a:pt x="170586" y="354634"/>
                  </a:lnTo>
                  <a:lnTo>
                    <a:pt x="204317" y="366229"/>
                  </a:lnTo>
                  <a:lnTo>
                    <a:pt x="228701" y="382181"/>
                  </a:lnTo>
                  <a:lnTo>
                    <a:pt x="216750" y="394093"/>
                  </a:lnTo>
                  <a:lnTo>
                    <a:pt x="185305" y="430606"/>
                  </a:lnTo>
                  <a:lnTo>
                    <a:pt x="141020" y="492874"/>
                  </a:lnTo>
                  <a:lnTo>
                    <a:pt x="90500" y="582041"/>
                  </a:lnTo>
                  <a:lnTo>
                    <a:pt x="110845" y="563257"/>
                  </a:lnTo>
                  <a:lnTo>
                    <a:pt x="159664" y="519760"/>
                  </a:lnTo>
                  <a:lnTo>
                    <a:pt x="218655" y="470814"/>
                  </a:lnTo>
                  <a:lnTo>
                    <a:pt x="269506" y="435737"/>
                  </a:lnTo>
                  <a:lnTo>
                    <a:pt x="274218" y="451218"/>
                  </a:lnTo>
                  <a:lnTo>
                    <a:pt x="286080" y="488823"/>
                  </a:lnTo>
                  <a:lnTo>
                    <a:pt x="301586" y="535279"/>
                  </a:lnTo>
                  <a:lnTo>
                    <a:pt x="317296" y="577303"/>
                  </a:lnTo>
                  <a:lnTo>
                    <a:pt x="320471" y="559257"/>
                  </a:lnTo>
                  <a:lnTo>
                    <a:pt x="329628" y="514807"/>
                  </a:lnTo>
                  <a:lnTo>
                    <a:pt x="344220" y="458431"/>
                  </a:lnTo>
                  <a:lnTo>
                    <a:pt x="363689" y="404647"/>
                  </a:lnTo>
                  <a:lnTo>
                    <a:pt x="411759" y="396201"/>
                  </a:lnTo>
                  <a:lnTo>
                    <a:pt x="445465" y="394055"/>
                  </a:lnTo>
                  <a:lnTo>
                    <a:pt x="488594" y="394258"/>
                  </a:lnTo>
                  <a:lnTo>
                    <a:pt x="544372" y="398703"/>
                  </a:lnTo>
                  <a:lnTo>
                    <a:pt x="615988" y="409270"/>
                  </a:lnTo>
                  <a:close/>
                </a:path>
                <a:path w="1064895" h="1024254">
                  <a:moveTo>
                    <a:pt x="668820" y="840409"/>
                  </a:moveTo>
                  <a:lnTo>
                    <a:pt x="643737" y="857326"/>
                  </a:lnTo>
                  <a:lnTo>
                    <a:pt x="619036" y="872617"/>
                  </a:lnTo>
                  <a:lnTo>
                    <a:pt x="593331" y="886955"/>
                  </a:lnTo>
                  <a:lnTo>
                    <a:pt x="565213" y="900963"/>
                  </a:lnTo>
                  <a:lnTo>
                    <a:pt x="563105" y="874636"/>
                  </a:lnTo>
                  <a:lnTo>
                    <a:pt x="561594" y="846582"/>
                  </a:lnTo>
                  <a:lnTo>
                    <a:pt x="545769" y="867625"/>
                  </a:lnTo>
                  <a:lnTo>
                    <a:pt x="514324" y="906386"/>
                  </a:lnTo>
                  <a:lnTo>
                    <a:pt x="467461" y="933411"/>
                  </a:lnTo>
                  <a:lnTo>
                    <a:pt x="411568" y="941120"/>
                  </a:lnTo>
                  <a:lnTo>
                    <a:pt x="382447" y="941984"/>
                  </a:lnTo>
                  <a:lnTo>
                    <a:pt x="400913" y="950620"/>
                  </a:lnTo>
                  <a:lnTo>
                    <a:pt x="419341" y="957618"/>
                  </a:lnTo>
                  <a:lnTo>
                    <a:pt x="437959" y="963256"/>
                  </a:lnTo>
                  <a:lnTo>
                    <a:pt x="457034" y="967778"/>
                  </a:lnTo>
                  <a:lnTo>
                    <a:pt x="438289" y="984161"/>
                  </a:lnTo>
                  <a:lnTo>
                    <a:pt x="420370" y="998575"/>
                  </a:lnTo>
                  <a:lnTo>
                    <a:pt x="402590" y="1011580"/>
                  </a:lnTo>
                  <a:lnTo>
                    <a:pt x="384276" y="1023772"/>
                  </a:lnTo>
                  <a:lnTo>
                    <a:pt x="417855" y="1014844"/>
                  </a:lnTo>
                  <a:lnTo>
                    <a:pt x="453834" y="1003084"/>
                  </a:lnTo>
                  <a:lnTo>
                    <a:pt x="489635" y="988644"/>
                  </a:lnTo>
                  <a:lnTo>
                    <a:pt x="522719" y="971638"/>
                  </a:lnTo>
                  <a:lnTo>
                    <a:pt x="538518" y="971854"/>
                  </a:lnTo>
                  <a:lnTo>
                    <a:pt x="553427" y="971308"/>
                  </a:lnTo>
                  <a:lnTo>
                    <a:pt x="567055" y="970051"/>
                  </a:lnTo>
                  <a:lnTo>
                    <a:pt x="579056" y="968171"/>
                  </a:lnTo>
                  <a:lnTo>
                    <a:pt x="576414" y="959256"/>
                  </a:lnTo>
                  <a:lnTo>
                    <a:pt x="574116" y="950595"/>
                  </a:lnTo>
                  <a:lnTo>
                    <a:pt x="571957" y="941222"/>
                  </a:lnTo>
                  <a:lnTo>
                    <a:pt x="569722" y="930186"/>
                  </a:lnTo>
                  <a:lnTo>
                    <a:pt x="597027" y="908100"/>
                  </a:lnTo>
                  <a:lnTo>
                    <a:pt x="621715" y="886282"/>
                  </a:lnTo>
                  <a:lnTo>
                    <a:pt x="645198" y="863981"/>
                  </a:lnTo>
                  <a:lnTo>
                    <a:pt x="668820" y="840409"/>
                  </a:lnTo>
                  <a:close/>
                </a:path>
                <a:path w="1064895" h="1024254">
                  <a:moveTo>
                    <a:pt x="1064450" y="81673"/>
                  </a:moveTo>
                  <a:lnTo>
                    <a:pt x="1002499" y="86893"/>
                  </a:lnTo>
                  <a:lnTo>
                    <a:pt x="979131" y="90068"/>
                  </a:lnTo>
                  <a:lnTo>
                    <a:pt x="958151" y="95135"/>
                  </a:lnTo>
                  <a:lnTo>
                    <a:pt x="924267" y="77012"/>
                  </a:lnTo>
                  <a:lnTo>
                    <a:pt x="883107" y="59359"/>
                  </a:lnTo>
                  <a:lnTo>
                    <a:pt x="836409" y="42786"/>
                  </a:lnTo>
                  <a:lnTo>
                    <a:pt x="785939" y="27952"/>
                  </a:lnTo>
                  <a:lnTo>
                    <a:pt x="733425" y="15443"/>
                  </a:lnTo>
                  <a:lnTo>
                    <a:pt x="680605" y="5918"/>
                  </a:lnTo>
                  <a:lnTo>
                    <a:pt x="629221" y="0"/>
                  </a:lnTo>
                  <a:lnTo>
                    <a:pt x="662635" y="16040"/>
                  </a:lnTo>
                  <a:lnTo>
                    <a:pt x="711123" y="41846"/>
                  </a:lnTo>
                  <a:lnTo>
                    <a:pt x="763181" y="71678"/>
                  </a:lnTo>
                  <a:lnTo>
                    <a:pt x="807250" y="99822"/>
                  </a:lnTo>
                  <a:lnTo>
                    <a:pt x="831799" y="120548"/>
                  </a:lnTo>
                  <a:lnTo>
                    <a:pt x="787273" y="128511"/>
                  </a:lnTo>
                  <a:lnTo>
                    <a:pt x="735025" y="141071"/>
                  </a:lnTo>
                  <a:lnTo>
                    <a:pt x="679069" y="157175"/>
                  </a:lnTo>
                  <a:lnTo>
                    <a:pt x="623404" y="175729"/>
                  </a:lnTo>
                  <a:lnTo>
                    <a:pt x="572046" y="195681"/>
                  </a:lnTo>
                  <a:lnTo>
                    <a:pt x="528980" y="215950"/>
                  </a:lnTo>
                  <a:lnTo>
                    <a:pt x="574700" y="207124"/>
                  </a:lnTo>
                  <a:lnTo>
                    <a:pt x="624166" y="199732"/>
                  </a:lnTo>
                  <a:lnTo>
                    <a:pt x="675398" y="193649"/>
                  </a:lnTo>
                  <a:lnTo>
                    <a:pt x="726351" y="188810"/>
                  </a:lnTo>
                  <a:lnTo>
                    <a:pt x="775042" y="185089"/>
                  </a:lnTo>
                  <a:lnTo>
                    <a:pt x="819454" y="182410"/>
                  </a:lnTo>
                  <a:lnTo>
                    <a:pt x="796975" y="214680"/>
                  </a:lnTo>
                  <a:lnTo>
                    <a:pt x="775284" y="243433"/>
                  </a:lnTo>
                  <a:lnTo>
                    <a:pt x="749846" y="273939"/>
                  </a:lnTo>
                  <a:lnTo>
                    <a:pt x="716076" y="311442"/>
                  </a:lnTo>
                  <a:lnTo>
                    <a:pt x="773544" y="278803"/>
                  </a:lnTo>
                  <a:lnTo>
                    <a:pt x="818172" y="256019"/>
                  </a:lnTo>
                  <a:lnTo>
                    <a:pt x="861415" y="234213"/>
                  </a:lnTo>
                  <a:lnTo>
                    <a:pt x="914781" y="204508"/>
                  </a:lnTo>
                  <a:lnTo>
                    <a:pt x="931037" y="239026"/>
                  </a:lnTo>
                  <a:lnTo>
                    <a:pt x="942327" y="284111"/>
                  </a:lnTo>
                  <a:lnTo>
                    <a:pt x="949490" y="335775"/>
                  </a:lnTo>
                  <a:lnTo>
                    <a:pt x="953389" y="390042"/>
                  </a:lnTo>
                  <a:lnTo>
                    <a:pt x="954900" y="442937"/>
                  </a:lnTo>
                  <a:lnTo>
                    <a:pt x="968730" y="405130"/>
                  </a:lnTo>
                  <a:lnTo>
                    <a:pt x="982065" y="351243"/>
                  </a:lnTo>
                  <a:lnTo>
                    <a:pt x="993432" y="290004"/>
                  </a:lnTo>
                  <a:lnTo>
                    <a:pt x="1001395" y="230174"/>
                  </a:lnTo>
                  <a:lnTo>
                    <a:pt x="1004481" y="180479"/>
                  </a:lnTo>
                  <a:lnTo>
                    <a:pt x="1001255" y="149669"/>
                  </a:lnTo>
                  <a:lnTo>
                    <a:pt x="1030287" y="128270"/>
                  </a:lnTo>
                  <a:lnTo>
                    <a:pt x="1046657" y="111633"/>
                  </a:lnTo>
                  <a:lnTo>
                    <a:pt x="1056119" y="97028"/>
                  </a:lnTo>
                  <a:lnTo>
                    <a:pt x="1064450" y="8167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43" name="object 41">
              <a:extLst>
                <a:ext uri="{FF2B5EF4-FFF2-40B4-BE49-F238E27FC236}">
                  <a16:creationId xmlns:a16="http://schemas.microsoft.com/office/drawing/2014/main" id="{E61A765B-5A80-C048-8D55-F7AD128988CC}"/>
                </a:ext>
              </a:extLst>
            </p:cNvPr>
            <p:cNvSpPr/>
            <p:nvPr/>
          </p:nvSpPr>
          <p:spPr>
            <a:xfrm>
              <a:off x="2499023" y="10166919"/>
              <a:ext cx="224851" cy="241479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44" name="object 42">
              <a:extLst>
                <a:ext uri="{FF2B5EF4-FFF2-40B4-BE49-F238E27FC236}">
                  <a16:creationId xmlns:a16="http://schemas.microsoft.com/office/drawing/2014/main" id="{9F6D1FAB-2AB5-9442-B7F8-C3D87D3DF48E}"/>
                </a:ext>
              </a:extLst>
            </p:cNvPr>
            <p:cNvSpPr/>
            <p:nvPr/>
          </p:nvSpPr>
          <p:spPr>
            <a:xfrm>
              <a:off x="2208306" y="10166934"/>
              <a:ext cx="249489" cy="241448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45" name="object 43">
              <a:extLst>
                <a:ext uri="{FF2B5EF4-FFF2-40B4-BE49-F238E27FC236}">
                  <a16:creationId xmlns:a16="http://schemas.microsoft.com/office/drawing/2014/main" id="{DFA7F4B5-7A01-7A43-9BAB-777DCE75E289}"/>
                </a:ext>
              </a:extLst>
            </p:cNvPr>
            <p:cNvSpPr/>
            <p:nvPr/>
          </p:nvSpPr>
          <p:spPr>
            <a:xfrm>
              <a:off x="2779850" y="10166911"/>
              <a:ext cx="235615" cy="241490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46" name="object 44">
              <a:extLst>
                <a:ext uri="{FF2B5EF4-FFF2-40B4-BE49-F238E27FC236}">
                  <a16:creationId xmlns:a16="http://schemas.microsoft.com/office/drawing/2014/main" id="{116E7D40-B90B-0E46-B652-078707A056D7}"/>
                </a:ext>
              </a:extLst>
            </p:cNvPr>
            <p:cNvSpPr/>
            <p:nvPr/>
          </p:nvSpPr>
          <p:spPr>
            <a:xfrm>
              <a:off x="3145360" y="10166911"/>
              <a:ext cx="235584" cy="241490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47" name="object 45">
              <a:extLst>
                <a:ext uri="{FF2B5EF4-FFF2-40B4-BE49-F238E27FC236}">
                  <a16:creationId xmlns:a16="http://schemas.microsoft.com/office/drawing/2014/main" id="{CA8F5E30-6B4F-A54C-8290-B143EEF074D0}"/>
                </a:ext>
              </a:extLst>
            </p:cNvPr>
            <p:cNvSpPr/>
            <p:nvPr/>
          </p:nvSpPr>
          <p:spPr>
            <a:xfrm>
              <a:off x="3358354" y="10166927"/>
              <a:ext cx="555625" cy="241935"/>
            </a:xfrm>
            <a:custGeom>
              <a:avLst/>
              <a:gdLst/>
              <a:ahLst/>
              <a:cxnLst/>
              <a:rect l="l" t="t" r="r" b="b"/>
              <a:pathLst>
                <a:path w="555625" h="241934">
                  <a:moveTo>
                    <a:pt x="270586" y="241477"/>
                  </a:moveTo>
                  <a:lnTo>
                    <a:pt x="253250" y="204152"/>
                  </a:lnTo>
                  <a:lnTo>
                    <a:pt x="245922" y="188137"/>
                  </a:lnTo>
                  <a:lnTo>
                    <a:pt x="229755" y="152755"/>
                  </a:lnTo>
                  <a:lnTo>
                    <a:pt x="227533" y="147904"/>
                  </a:lnTo>
                  <a:lnTo>
                    <a:pt x="199783" y="86169"/>
                  </a:lnTo>
                  <a:lnTo>
                    <a:pt x="196811" y="79362"/>
                  </a:lnTo>
                  <a:lnTo>
                    <a:pt x="176339" y="32385"/>
                  </a:lnTo>
                  <a:lnTo>
                    <a:pt x="163525" y="0"/>
                  </a:lnTo>
                  <a:lnTo>
                    <a:pt x="156794" y="0"/>
                  </a:lnTo>
                  <a:lnTo>
                    <a:pt x="156794" y="151930"/>
                  </a:lnTo>
                  <a:lnTo>
                    <a:pt x="143052" y="152488"/>
                  </a:lnTo>
                  <a:lnTo>
                    <a:pt x="136550" y="152679"/>
                  </a:lnTo>
                  <a:lnTo>
                    <a:pt x="129006" y="152755"/>
                  </a:lnTo>
                  <a:lnTo>
                    <a:pt x="122313" y="152679"/>
                  </a:lnTo>
                  <a:lnTo>
                    <a:pt x="107099" y="152222"/>
                  </a:lnTo>
                  <a:lnTo>
                    <a:pt x="99885" y="151930"/>
                  </a:lnTo>
                  <a:lnTo>
                    <a:pt x="106387" y="134937"/>
                  </a:lnTo>
                  <a:lnTo>
                    <a:pt x="114173" y="115760"/>
                  </a:lnTo>
                  <a:lnTo>
                    <a:pt x="121881" y="96520"/>
                  </a:lnTo>
                  <a:lnTo>
                    <a:pt x="128117" y="79362"/>
                  </a:lnTo>
                  <a:lnTo>
                    <a:pt x="133921" y="95897"/>
                  </a:lnTo>
                  <a:lnTo>
                    <a:pt x="141287" y="114427"/>
                  </a:lnTo>
                  <a:lnTo>
                    <a:pt x="149237" y="133565"/>
                  </a:lnTo>
                  <a:lnTo>
                    <a:pt x="156794" y="151930"/>
                  </a:lnTo>
                  <a:lnTo>
                    <a:pt x="156794" y="0"/>
                  </a:lnTo>
                  <a:lnTo>
                    <a:pt x="107061" y="0"/>
                  </a:lnTo>
                  <a:lnTo>
                    <a:pt x="91719" y="37045"/>
                  </a:lnTo>
                  <a:lnTo>
                    <a:pt x="67056" y="93027"/>
                  </a:lnTo>
                  <a:lnTo>
                    <a:pt x="39370" y="154622"/>
                  </a:lnTo>
                  <a:lnTo>
                    <a:pt x="0" y="241477"/>
                  </a:lnTo>
                  <a:lnTo>
                    <a:pt x="69024" y="241477"/>
                  </a:lnTo>
                  <a:lnTo>
                    <a:pt x="73456" y="228866"/>
                  </a:lnTo>
                  <a:lnTo>
                    <a:pt x="78117" y="216268"/>
                  </a:lnTo>
                  <a:lnTo>
                    <a:pt x="83032" y="203174"/>
                  </a:lnTo>
                  <a:lnTo>
                    <a:pt x="88239" y="189090"/>
                  </a:lnTo>
                  <a:lnTo>
                    <a:pt x="107454" y="188417"/>
                  </a:lnTo>
                  <a:lnTo>
                    <a:pt x="117665" y="188214"/>
                  </a:lnTo>
                  <a:lnTo>
                    <a:pt x="139611" y="188201"/>
                  </a:lnTo>
                  <a:lnTo>
                    <a:pt x="161010" y="188328"/>
                  </a:lnTo>
                  <a:lnTo>
                    <a:pt x="170230" y="188582"/>
                  </a:lnTo>
                  <a:lnTo>
                    <a:pt x="177990" y="208381"/>
                  </a:lnTo>
                  <a:lnTo>
                    <a:pt x="183946" y="222923"/>
                  </a:lnTo>
                  <a:lnTo>
                    <a:pt x="188315" y="233527"/>
                  </a:lnTo>
                  <a:lnTo>
                    <a:pt x="191287" y="241477"/>
                  </a:lnTo>
                  <a:lnTo>
                    <a:pt x="270586" y="241477"/>
                  </a:lnTo>
                  <a:close/>
                </a:path>
                <a:path w="555625" h="241934">
                  <a:moveTo>
                    <a:pt x="555002" y="241477"/>
                  </a:moveTo>
                  <a:lnTo>
                    <a:pt x="538988" y="222123"/>
                  </a:lnTo>
                  <a:lnTo>
                    <a:pt x="514578" y="190842"/>
                  </a:lnTo>
                  <a:lnTo>
                    <a:pt x="491007" y="159575"/>
                  </a:lnTo>
                  <a:lnTo>
                    <a:pt x="477520" y="140233"/>
                  </a:lnTo>
                  <a:lnTo>
                    <a:pt x="501192" y="128384"/>
                  </a:lnTo>
                  <a:lnTo>
                    <a:pt x="519252" y="113588"/>
                  </a:lnTo>
                  <a:lnTo>
                    <a:pt x="530771" y="95758"/>
                  </a:lnTo>
                  <a:lnTo>
                    <a:pt x="534809" y="74841"/>
                  </a:lnTo>
                  <a:lnTo>
                    <a:pt x="524129" y="39535"/>
                  </a:lnTo>
                  <a:lnTo>
                    <a:pt x="496646" y="16421"/>
                  </a:lnTo>
                  <a:lnTo>
                    <a:pt x="459257" y="3822"/>
                  </a:lnTo>
                  <a:lnTo>
                    <a:pt x="418833" y="0"/>
                  </a:lnTo>
                  <a:lnTo>
                    <a:pt x="299224" y="0"/>
                  </a:lnTo>
                  <a:lnTo>
                    <a:pt x="301383" y="22593"/>
                  </a:lnTo>
                  <a:lnTo>
                    <a:pt x="302602" y="51320"/>
                  </a:lnTo>
                  <a:lnTo>
                    <a:pt x="303161" y="83045"/>
                  </a:lnTo>
                  <a:lnTo>
                    <a:pt x="303288" y="114681"/>
                  </a:lnTo>
                  <a:lnTo>
                    <a:pt x="303085" y="149872"/>
                  </a:lnTo>
                  <a:lnTo>
                    <a:pt x="302310" y="182791"/>
                  </a:lnTo>
                  <a:lnTo>
                    <a:pt x="300799" y="213347"/>
                  </a:lnTo>
                  <a:lnTo>
                    <a:pt x="298335" y="241477"/>
                  </a:lnTo>
                  <a:lnTo>
                    <a:pt x="378980" y="241477"/>
                  </a:lnTo>
                  <a:lnTo>
                    <a:pt x="376643" y="209130"/>
                  </a:lnTo>
                  <a:lnTo>
                    <a:pt x="375437" y="172212"/>
                  </a:lnTo>
                  <a:lnTo>
                    <a:pt x="374992" y="138214"/>
                  </a:lnTo>
                  <a:lnTo>
                    <a:pt x="375031" y="99377"/>
                  </a:lnTo>
                  <a:lnTo>
                    <a:pt x="375869" y="56502"/>
                  </a:lnTo>
                  <a:lnTo>
                    <a:pt x="376707" y="33629"/>
                  </a:lnTo>
                  <a:lnTo>
                    <a:pt x="382346" y="33337"/>
                  </a:lnTo>
                  <a:lnTo>
                    <a:pt x="405396" y="33134"/>
                  </a:lnTo>
                  <a:lnTo>
                    <a:pt x="421474" y="35102"/>
                  </a:lnTo>
                  <a:lnTo>
                    <a:pt x="439407" y="41833"/>
                  </a:lnTo>
                  <a:lnTo>
                    <a:pt x="453999" y="54546"/>
                  </a:lnTo>
                  <a:lnTo>
                    <a:pt x="460019" y="74434"/>
                  </a:lnTo>
                  <a:lnTo>
                    <a:pt x="454787" y="96100"/>
                  </a:lnTo>
                  <a:lnTo>
                    <a:pt x="440702" y="111112"/>
                  </a:lnTo>
                  <a:lnTo>
                    <a:pt x="420166" y="119087"/>
                  </a:lnTo>
                  <a:lnTo>
                    <a:pt x="395554" y="119595"/>
                  </a:lnTo>
                  <a:lnTo>
                    <a:pt x="416902" y="152501"/>
                  </a:lnTo>
                  <a:lnTo>
                    <a:pt x="437070" y="185572"/>
                  </a:lnTo>
                  <a:lnTo>
                    <a:pt x="454723" y="216128"/>
                  </a:lnTo>
                  <a:lnTo>
                    <a:pt x="468528" y="241477"/>
                  </a:lnTo>
                  <a:lnTo>
                    <a:pt x="555002" y="241477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48" name="object 46">
              <a:extLst>
                <a:ext uri="{FF2B5EF4-FFF2-40B4-BE49-F238E27FC236}">
                  <a16:creationId xmlns:a16="http://schemas.microsoft.com/office/drawing/2014/main" id="{7ECB49AA-CF17-064F-929F-8149EB77D23D}"/>
                </a:ext>
              </a:extLst>
            </p:cNvPr>
            <p:cNvSpPr/>
            <p:nvPr/>
          </p:nvSpPr>
          <p:spPr>
            <a:xfrm>
              <a:off x="3944738" y="10166919"/>
              <a:ext cx="79714" cy="241479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49" name="object 47">
              <a:extLst>
                <a:ext uri="{FF2B5EF4-FFF2-40B4-BE49-F238E27FC236}">
                  <a16:creationId xmlns:a16="http://schemas.microsoft.com/office/drawing/2014/main" id="{8D9F0A5D-88CE-C543-B751-E7163E636C96}"/>
                </a:ext>
              </a:extLst>
            </p:cNvPr>
            <p:cNvSpPr/>
            <p:nvPr/>
          </p:nvSpPr>
          <p:spPr>
            <a:xfrm>
              <a:off x="4076391" y="10166934"/>
              <a:ext cx="249521" cy="241448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50" name="object 48">
              <a:extLst>
                <a:ext uri="{FF2B5EF4-FFF2-40B4-BE49-F238E27FC236}">
                  <a16:creationId xmlns:a16="http://schemas.microsoft.com/office/drawing/2014/main" id="{BE575E7D-A037-204A-9162-5A6EA2627210}"/>
                </a:ext>
              </a:extLst>
            </p:cNvPr>
            <p:cNvSpPr/>
            <p:nvPr/>
          </p:nvSpPr>
          <p:spPr>
            <a:xfrm>
              <a:off x="4334854" y="10166922"/>
              <a:ext cx="271145" cy="241935"/>
            </a:xfrm>
            <a:custGeom>
              <a:avLst/>
              <a:gdLst/>
              <a:ahLst/>
              <a:cxnLst/>
              <a:rect l="l" t="t" r="r" b="b"/>
              <a:pathLst>
                <a:path w="271145" h="241934">
                  <a:moveTo>
                    <a:pt x="163492" y="0"/>
                  </a:moveTo>
                  <a:lnTo>
                    <a:pt x="107022" y="0"/>
                  </a:lnTo>
                  <a:lnTo>
                    <a:pt x="91693" y="37045"/>
                  </a:lnTo>
                  <a:lnTo>
                    <a:pt x="67045" y="93022"/>
                  </a:lnTo>
                  <a:lnTo>
                    <a:pt x="39359" y="154624"/>
                  </a:lnTo>
                  <a:lnTo>
                    <a:pt x="0" y="241479"/>
                  </a:lnTo>
                  <a:lnTo>
                    <a:pt x="68982" y="241479"/>
                  </a:lnTo>
                  <a:lnTo>
                    <a:pt x="73421" y="228869"/>
                  </a:lnTo>
                  <a:lnTo>
                    <a:pt x="78086" y="216270"/>
                  </a:lnTo>
                  <a:lnTo>
                    <a:pt x="83003" y="203177"/>
                  </a:lnTo>
                  <a:lnTo>
                    <a:pt x="88196" y="189083"/>
                  </a:lnTo>
                  <a:lnTo>
                    <a:pt x="107448" y="188418"/>
                  </a:lnTo>
                  <a:lnTo>
                    <a:pt x="117652" y="188208"/>
                  </a:lnTo>
                  <a:lnTo>
                    <a:pt x="245881" y="188130"/>
                  </a:lnTo>
                  <a:lnTo>
                    <a:pt x="229705" y="152749"/>
                  </a:lnTo>
                  <a:lnTo>
                    <a:pt x="128969" y="152749"/>
                  </a:lnTo>
                  <a:lnTo>
                    <a:pt x="122296" y="152674"/>
                  </a:lnTo>
                  <a:lnTo>
                    <a:pt x="107087" y="152214"/>
                  </a:lnTo>
                  <a:lnTo>
                    <a:pt x="99913" y="151922"/>
                  </a:lnTo>
                  <a:lnTo>
                    <a:pt x="106371" y="134938"/>
                  </a:lnTo>
                  <a:lnTo>
                    <a:pt x="114153" y="115758"/>
                  </a:lnTo>
                  <a:lnTo>
                    <a:pt x="121864" y="96518"/>
                  </a:lnTo>
                  <a:lnTo>
                    <a:pt x="128111" y="79358"/>
                  </a:lnTo>
                  <a:lnTo>
                    <a:pt x="196766" y="79358"/>
                  </a:lnTo>
                  <a:lnTo>
                    <a:pt x="176286" y="32382"/>
                  </a:lnTo>
                  <a:lnTo>
                    <a:pt x="163492" y="0"/>
                  </a:lnTo>
                  <a:close/>
                </a:path>
                <a:path w="271145" h="241934">
                  <a:moveTo>
                    <a:pt x="245881" y="188130"/>
                  </a:moveTo>
                  <a:lnTo>
                    <a:pt x="128969" y="188130"/>
                  </a:lnTo>
                  <a:lnTo>
                    <a:pt x="161003" y="188320"/>
                  </a:lnTo>
                  <a:lnTo>
                    <a:pt x="170225" y="188580"/>
                  </a:lnTo>
                  <a:lnTo>
                    <a:pt x="177988" y="208379"/>
                  </a:lnTo>
                  <a:lnTo>
                    <a:pt x="188287" y="233524"/>
                  </a:lnTo>
                  <a:lnTo>
                    <a:pt x="191250" y="241479"/>
                  </a:lnTo>
                  <a:lnTo>
                    <a:pt x="270546" y="241479"/>
                  </a:lnTo>
                  <a:lnTo>
                    <a:pt x="253208" y="204156"/>
                  </a:lnTo>
                  <a:lnTo>
                    <a:pt x="245881" y="188130"/>
                  </a:lnTo>
                  <a:close/>
                </a:path>
                <a:path w="271145" h="241934">
                  <a:moveTo>
                    <a:pt x="196766" y="79358"/>
                  </a:moveTo>
                  <a:lnTo>
                    <a:pt x="128111" y="79358"/>
                  </a:lnTo>
                  <a:lnTo>
                    <a:pt x="133906" y="95896"/>
                  </a:lnTo>
                  <a:lnTo>
                    <a:pt x="141257" y="114427"/>
                  </a:lnTo>
                  <a:lnTo>
                    <a:pt x="149197" y="133564"/>
                  </a:lnTo>
                  <a:lnTo>
                    <a:pt x="156759" y="151922"/>
                  </a:lnTo>
                  <a:lnTo>
                    <a:pt x="143045" y="152480"/>
                  </a:lnTo>
                  <a:lnTo>
                    <a:pt x="136533" y="152674"/>
                  </a:lnTo>
                  <a:lnTo>
                    <a:pt x="128969" y="152749"/>
                  </a:lnTo>
                  <a:lnTo>
                    <a:pt x="229705" y="152749"/>
                  </a:lnTo>
                  <a:lnTo>
                    <a:pt x="227489" y="147903"/>
                  </a:lnTo>
                  <a:lnTo>
                    <a:pt x="199734" y="86164"/>
                  </a:lnTo>
                  <a:lnTo>
                    <a:pt x="196766" y="7935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51" name="object 49">
              <a:extLst>
                <a:ext uri="{FF2B5EF4-FFF2-40B4-BE49-F238E27FC236}">
                  <a16:creationId xmlns:a16="http://schemas.microsoft.com/office/drawing/2014/main" id="{FCF2A1B1-5648-0842-B0DB-DA998CCF6FFF}"/>
                </a:ext>
              </a:extLst>
            </p:cNvPr>
            <p:cNvSpPr/>
            <p:nvPr/>
          </p:nvSpPr>
          <p:spPr>
            <a:xfrm>
              <a:off x="4623312" y="10160665"/>
              <a:ext cx="207826" cy="253971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52" name="object 50">
              <a:extLst>
                <a:ext uri="{FF2B5EF4-FFF2-40B4-BE49-F238E27FC236}">
                  <a16:creationId xmlns:a16="http://schemas.microsoft.com/office/drawing/2014/main" id="{D11D38E2-801C-3C4D-9761-CD4E76913114}"/>
                </a:ext>
              </a:extLst>
            </p:cNvPr>
            <p:cNvSpPr/>
            <p:nvPr/>
          </p:nvSpPr>
          <p:spPr>
            <a:xfrm>
              <a:off x="4964853" y="10160665"/>
              <a:ext cx="835660" cy="254635"/>
            </a:xfrm>
            <a:custGeom>
              <a:avLst/>
              <a:gdLst/>
              <a:ahLst/>
              <a:cxnLst/>
              <a:rect l="l" t="t" r="r" b="b"/>
              <a:pathLst>
                <a:path w="835660" h="254634">
                  <a:moveTo>
                    <a:pt x="256692" y="130327"/>
                  </a:moveTo>
                  <a:lnTo>
                    <a:pt x="180543" y="130327"/>
                  </a:lnTo>
                  <a:lnTo>
                    <a:pt x="181902" y="148005"/>
                  </a:lnTo>
                  <a:lnTo>
                    <a:pt x="182702" y="169824"/>
                  </a:lnTo>
                  <a:lnTo>
                    <a:pt x="183184" y="216357"/>
                  </a:lnTo>
                  <a:lnTo>
                    <a:pt x="157657" y="218135"/>
                  </a:lnTo>
                  <a:lnTo>
                    <a:pt x="128422" y="213652"/>
                  </a:lnTo>
                  <a:lnTo>
                    <a:pt x="103847" y="198704"/>
                  </a:lnTo>
                  <a:lnTo>
                    <a:pt x="86918" y="171094"/>
                  </a:lnTo>
                  <a:lnTo>
                    <a:pt x="80606" y="128574"/>
                  </a:lnTo>
                  <a:lnTo>
                    <a:pt x="84645" y="97421"/>
                  </a:lnTo>
                  <a:lnTo>
                    <a:pt x="97751" y="68211"/>
                  </a:lnTo>
                  <a:lnTo>
                    <a:pt x="121450" y="46558"/>
                  </a:lnTo>
                  <a:lnTo>
                    <a:pt x="157238" y="38100"/>
                  </a:lnTo>
                  <a:lnTo>
                    <a:pt x="172707" y="39585"/>
                  </a:lnTo>
                  <a:lnTo>
                    <a:pt x="189649" y="43649"/>
                  </a:lnTo>
                  <a:lnTo>
                    <a:pt x="206171" y="49631"/>
                  </a:lnTo>
                  <a:lnTo>
                    <a:pt x="220370" y="56921"/>
                  </a:lnTo>
                  <a:lnTo>
                    <a:pt x="237871" y="9448"/>
                  </a:lnTo>
                  <a:lnTo>
                    <a:pt x="218541" y="5524"/>
                  </a:lnTo>
                  <a:lnTo>
                    <a:pt x="197497" y="2540"/>
                  </a:lnTo>
                  <a:lnTo>
                    <a:pt x="176695" y="660"/>
                  </a:lnTo>
                  <a:lnTo>
                    <a:pt x="158127" y="0"/>
                  </a:lnTo>
                  <a:lnTo>
                    <a:pt x="104025" y="6311"/>
                  </a:lnTo>
                  <a:lnTo>
                    <a:pt x="60096" y="24079"/>
                  </a:lnTo>
                  <a:lnTo>
                    <a:pt x="27419" y="51485"/>
                  </a:lnTo>
                  <a:lnTo>
                    <a:pt x="7035" y="86766"/>
                  </a:lnTo>
                  <a:lnTo>
                    <a:pt x="0" y="128130"/>
                  </a:lnTo>
                  <a:lnTo>
                    <a:pt x="6680" y="167881"/>
                  </a:lnTo>
                  <a:lnTo>
                    <a:pt x="25908" y="202438"/>
                  </a:lnTo>
                  <a:lnTo>
                    <a:pt x="56502" y="229692"/>
                  </a:lnTo>
                  <a:lnTo>
                    <a:pt x="97243" y="247561"/>
                  </a:lnTo>
                  <a:lnTo>
                    <a:pt x="146939" y="253987"/>
                  </a:lnTo>
                  <a:lnTo>
                    <a:pt x="176491" y="252590"/>
                  </a:lnTo>
                  <a:lnTo>
                    <a:pt x="205041" y="248513"/>
                  </a:lnTo>
                  <a:lnTo>
                    <a:pt x="231089" y="241909"/>
                  </a:lnTo>
                  <a:lnTo>
                    <a:pt x="253098" y="232956"/>
                  </a:lnTo>
                  <a:lnTo>
                    <a:pt x="255663" y="152349"/>
                  </a:lnTo>
                  <a:lnTo>
                    <a:pt x="256692" y="130327"/>
                  </a:lnTo>
                  <a:close/>
                </a:path>
                <a:path w="835660" h="254634">
                  <a:moveTo>
                    <a:pt x="559917" y="247738"/>
                  </a:moveTo>
                  <a:lnTo>
                    <a:pt x="543890" y="228384"/>
                  </a:lnTo>
                  <a:lnTo>
                    <a:pt x="519480" y="197104"/>
                  </a:lnTo>
                  <a:lnTo>
                    <a:pt x="495922" y="165836"/>
                  </a:lnTo>
                  <a:lnTo>
                    <a:pt x="482422" y="146494"/>
                  </a:lnTo>
                  <a:lnTo>
                    <a:pt x="506107" y="134645"/>
                  </a:lnTo>
                  <a:lnTo>
                    <a:pt x="524179" y="119849"/>
                  </a:lnTo>
                  <a:lnTo>
                    <a:pt x="535698" y="102019"/>
                  </a:lnTo>
                  <a:lnTo>
                    <a:pt x="539750" y="81102"/>
                  </a:lnTo>
                  <a:lnTo>
                    <a:pt x="529043" y="45796"/>
                  </a:lnTo>
                  <a:lnTo>
                    <a:pt x="501548" y="22682"/>
                  </a:lnTo>
                  <a:lnTo>
                    <a:pt x="464146" y="10083"/>
                  </a:lnTo>
                  <a:lnTo>
                    <a:pt x="423735" y="6261"/>
                  </a:lnTo>
                  <a:lnTo>
                    <a:pt x="304139" y="6261"/>
                  </a:lnTo>
                  <a:lnTo>
                    <a:pt x="306285" y="28854"/>
                  </a:lnTo>
                  <a:lnTo>
                    <a:pt x="307517" y="57581"/>
                  </a:lnTo>
                  <a:lnTo>
                    <a:pt x="308076" y="89306"/>
                  </a:lnTo>
                  <a:lnTo>
                    <a:pt x="308203" y="120942"/>
                  </a:lnTo>
                  <a:lnTo>
                    <a:pt x="308000" y="156133"/>
                  </a:lnTo>
                  <a:lnTo>
                    <a:pt x="307238" y="189052"/>
                  </a:lnTo>
                  <a:lnTo>
                    <a:pt x="305727" y="219608"/>
                  </a:lnTo>
                  <a:lnTo>
                    <a:pt x="303250" y="247738"/>
                  </a:lnTo>
                  <a:lnTo>
                    <a:pt x="383882" y="247738"/>
                  </a:lnTo>
                  <a:lnTo>
                    <a:pt x="381546" y="215392"/>
                  </a:lnTo>
                  <a:lnTo>
                    <a:pt x="380352" y="178473"/>
                  </a:lnTo>
                  <a:lnTo>
                    <a:pt x="379907" y="144475"/>
                  </a:lnTo>
                  <a:lnTo>
                    <a:pt x="379933" y="105638"/>
                  </a:lnTo>
                  <a:lnTo>
                    <a:pt x="380784" y="62763"/>
                  </a:lnTo>
                  <a:lnTo>
                    <a:pt x="381622" y="39890"/>
                  </a:lnTo>
                  <a:lnTo>
                    <a:pt x="387248" y="39598"/>
                  </a:lnTo>
                  <a:lnTo>
                    <a:pt x="410298" y="39395"/>
                  </a:lnTo>
                  <a:lnTo>
                    <a:pt x="426389" y="41363"/>
                  </a:lnTo>
                  <a:lnTo>
                    <a:pt x="444322" y="48094"/>
                  </a:lnTo>
                  <a:lnTo>
                    <a:pt x="458914" y="60807"/>
                  </a:lnTo>
                  <a:lnTo>
                    <a:pt x="464934" y="80695"/>
                  </a:lnTo>
                  <a:lnTo>
                    <a:pt x="459701" y="102362"/>
                  </a:lnTo>
                  <a:lnTo>
                    <a:pt x="445617" y="117373"/>
                  </a:lnTo>
                  <a:lnTo>
                    <a:pt x="425069" y="125349"/>
                  </a:lnTo>
                  <a:lnTo>
                    <a:pt x="400456" y="125857"/>
                  </a:lnTo>
                  <a:lnTo>
                    <a:pt x="421817" y="158762"/>
                  </a:lnTo>
                  <a:lnTo>
                    <a:pt x="442010" y="191833"/>
                  </a:lnTo>
                  <a:lnTo>
                    <a:pt x="459676" y="222389"/>
                  </a:lnTo>
                  <a:lnTo>
                    <a:pt x="473481" y="247738"/>
                  </a:lnTo>
                  <a:lnTo>
                    <a:pt x="559917" y="247738"/>
                  </a:lnTo>
                  <a:close/>
                </a:path>
                <a:path w="835660" h="254634">
                  <a:moveTo>
                    <a:pt x="835393" y="127254"/>
                  </a:moveTo>
                  <a:lnTo>
                    <a:pt x="825398" y="75247"/>
                  </a:lnTo>
                  <a:lnTo>
                    <a:pt x="797814" y="35064"/>
                  </a:lnTo>
                  <a:lnTo>
                    <a:pt x="791159" y="30937"/>
                  </a:lnTo>
                  <a:lnTo>
                    <a:pt x="760158" y="11658"/>
                  </a:lnTo>
                  <a:lnTo>
                    <a:pt x="760158" y="127254"/>
                  </a:lnTo>
                  <a:lnTo>
                    <a:pt x="756259" y="168402"/>
                  </a:lnTo>
                  <a:lnTo>
                    <a:pt x="745096" y="198259"/>
                  </a:lnTo>
                  <a:lnTo>
                    <a:pt x="727456" y="216446"/>
                  </a:lnTo>
                  <a:lnTo>
                    <a:pt x="704138" y="222592"/>
                  </a:lnTo>
                  <a:lnTo>
                    <a:pt x="680516" y="216446"/>
                  </a:lnTo>
                  <a:lnTo>
                    <a:pt x="662597" y="198259"/>
                  </a:lnTo>
                  <a:lnTo>
                    <a:pt x="651230" y="168402"/>
                  </a:lnTo>
                  <a:lnTo>
                    <a:pt x="647255" y="127254"/>
                  </a:lnTo>
                  <a:lnTo>
                    <a:pt x="651230" y="85915"/>
                  </a:lnTo>
                  <a:lnTo>
                    <a:pt x="680516" y="37223"/>
                  </a:lnTo>
                  <a:lnTo>
                    <a:pt x="727456" y="37223"/>
                  </a:lnTo>
                  <a:lnTo>
                    <a:pt x="756259" y="85915"/>
                  </a:lnTo>
                  <a:lnTo>
                    <a:pt x="760158" y="127254"/>
                  </a:lnTo>
                  <a:lnTo>
                    <a:pt x="760158" y="11658"/>
                  </a:lnTo>
                  <a:lnTo>
                    <a:pt x="756196" y="9182"/>
                  </a:lnTo>
                  <a:lnTo>
                    <a:pt x="704138" y="0"/>
                  </a:lnTo>
                  <a:lnTo>
                    <a:pt x="651827" y="9182"/>
                  </a:lnTo>
                  <a:lnTo>
                    <a:pt x="610108" y="35064"/>
                  </a:lnTo>
                  <a:lnTo>
                    <a:pt x="582485" y="75247"/>
                  </a:lnTo>
                  <a:lnTo>
                    <a:pt x="572490" y="127254"/>
                  </a:lnTo>
                  <a:lnTo>
                    <a:pt x="582485" y="179044"/>
                  </a:lnTo>
                  <a:lnTo>
                    <a:pt x="610108" y="219214"/>
                  </a:lnTo>
                  <a:lnTo>
                    <a:pt x="651827" y="245211"/>
                  </a:lnTo>
                  <a:lnTo>
                    <a:pt x="704138" y="254444"/>
                  </a:lnTo>
                  <a:lnTo>
                    <a:pt x="756196" y="245211"/>
                  </a:lnTo>
                  <a:lnTo>
                    <a:pt x="792403" y="222592"/>
                  </a:lnTo>
                  <a:lnTo>
                    <a:pt x="797814" y="219214"/>
                  </a:lnTo>
                  <a:lnTo>
                    <a:pt x="825398" y="179044"/>
                  </a:lnTo>
                  <a:lnTo>
                    <a:pt x="835393" y="127254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53" name="object 51">
              <a:extLst>
                <a:ext uri="{FF2B5EF4-FFF2-40B4-BE49-F238E27FC236}">
                  <a16:creationId xmlns:a16="http://schemas.microsoft.com/office/drawing/2014/main" id="{4265AE7D-5582-AE44-9B1A-78F5772C066C}"/>
                </a:ext>
              </a:extLst>
            </p:cNvPr>
            <p:cNvSpPr/>
            <p:nvPr/>
          </p:nvSpPr>
          <p:spPr>
            <a:xfrm>
              <a:off x="5833827" y="10166919"/>
              <a:ext cx="235165" cy="247741"/>
            </a:xfrm>
            <a:prstGeom prst="rect">
              <a:avLst/>
            </a:prstGeom>
            <a:blipFill>
              <a:blip r:embed="rId1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54" name="object 52">
              <a:extLst>
                <a:ext uri="{FF2B5EF4-FFF2-40B4-BE49-F238E27FC236}">
                  <a16:creationId xmlns:a16="http://schemas.microsoft.com/office/drawing/2014/main" id="{A05F8972-E764-A94F-A1F7-679671C286C0}"/>
                </a:ext>
              </a:extLst>
            </p:cNvPr>
            <p:cNvSpPr/>
            <p:nvPr/>
          </p:nvSpPr>
          <p:spPr>
            <a:xfrm>
              <a:off x="6116023" y="10166911"/>
              <a:ext cx="235584" cy="241490"/>
            </a:xfrm>
            <a:prstGeom prst="rect">
              <a:avLst/>
            </a:prstGeom>
            <a:blipFill>
              <a:blip r:embed="rId1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55" name="object 53">
              <a:extLst>
                <a:ext uri="{FF2B5EF4-FFF2-40B4-BE49-F238E27FC236}">
                  <a16:creationId xmlns:a16="http://schemas.microsoft.com/office/drawing/2014/main" id="{388CF36E-8E3A-9E4B-BF58-AC59C857123E}"/>
                </a:ext>
              </a:extLst>
            </p:cNvPr>
            <p:cNvSpPr/>
            <p:nvPr/>
          </p:nvSpPr>
          <p:spPr>
            <a:xfrm>
              <a:off x="2208280" y="9453860"/>
              <a:ext cx="2690495" cy="526415"/>
            </a:xfrm>
            <a:custGeom>
              <a:avLst/>
              <a:gdLst/>
              <a:ahLst/>
              <a:cxnLst/>
              <a:rect l="l" t="t" r="r" b="b"/>
              <a:pathLst>
                <a:path w="2690495" h="526415">
                  <a:moveTo>
                    <a:pt x="569506" y="525881"/>
                  </a:moveTo>
                  <a:lnTo>
                    <a:pt x="535978" y="452628"/>
                  </a:lnTo>
                  <a:lnTo>
                    <a:pt x="512343" y="400418"/>
                  </a:lnTo>
                  <a:lnTo>
                    <a:pt x="482600" y="334340"/>
                  </a:lnTo>
                  <a:lnTo>
                    <a:pt x="458965" y="281647"/>
                  </a:lnTo>
                  <a:lnTo>
                    <a:pt x="431304" y="219684"/>
                  </a:lnTo>
                  <a:lnTo>
                    <a:pt x="404787" y="159956"/>
                  </a:lnTo>
                  <a:lnTo>
                    <a:pt x="402513" y="154787"/>
                  </a:lnTo>
                  <a:lnTo>
                    <a:pt x="380707" y="105283"/>
                  </a:lnTo>
                  <a:lnTo>
                    <a:pt x="360324" y="58521"/>
                  </a:lnTo>
                  <a:lnTo>
                    <a:pt x="348627" y="31127"/>
                  </a:lnTo>
                  <a:lnTo>
                    <a:pt x="348627" y="332828"/>
                  </a:lnTo>
                  <a:lnTo>
                    <a:pt x="291782" y="334213"/>
                  </a:lnTo>
                  <a:lnTo>
                    <a:pt x="273507" y="334340"/>
                  </a:lnTo>
                  <a:lnTo>
                    <a:pt x="254012" y="334213"/>
                  </a:lnTo>
                  <a:lnTo>
                    <a:pt x="195364" y="332828"/>
                  </a:lnTo>
                  <a:lnTo>
                    <a:pt x="215925" y="283984"/>
                  </a:lnTo>
                  <a:lnTo>
                    <a:pt x="235839" y="237883"/>
                  </a:lnTo>
                  <a:lnTo>
                    <a:pt x="255066" y="194754"/>
                  </a:lnTo>
                  <a:lnTo>
                    <a:pt x="273507" y="154787"/>
                  </a:lnTo>
                  <a:lnTo>
                    <a:pt x="302056" y="222097"/>
                  </a:lnTo>
                  <a:lnTo>
                    <a:pt x="323799" y="273621"/>
                  </a:lnTo>
                  <a:lnTo>
                    <a:pt x="348627" y="332828"/>
                  </a:lnTo>
                  <a:lnTo>
                    <a:pt x="348627" y="31127"/>
                  </a:lnTo>
                  <a:lnTo>
                    <a:pt x="344944" y="22491"/>
                  </a:lnTo>
                  <a:lnTo>
                    <a:pt x="335851" y="12"/>
                  </a:lnTo>
                  <a:lnTo>
                    <a:pt x="234391" y="12"/>
                  </a:lnTo>
                  <a:lnTo>
                    <a:pt x="206260" y="68795"/>
                  </a:lnTo>
                  <a:lnTo>
                    <a:pt x="184467" y="118897"/>
                  </a:lnTo>
                  <a:lnTo>
                    <a:pt x="159283" y="175742"/>
                  </a:lnTo>
                  <a:lnTo>
                    <a:pt x="132041" y="236499"/>
                  </a:lnTo>
                  <a:lnTo>
                    <a:pt x="104076" y="298361"/>
                  </a:lnTo>
                  <a:lnTo>
                    <a:pt x="87718" y="334340"/>
                  </a:lnTo>
                  <a:lnTo>
                    <a:pt x="51320" y="414159"/>
                  </a:lnTo>
                  <a:lnTo>
                    <a:pt x="0" y="525881"/>
                  </a:lnTo>
                  <a:lnTo>
                    <a:pt x="126250" y="525881"/>
                  </a:lnTo>
                  <a:lnTo>
                    <a:pt x="145580" y="465886"/>
                  </a:lnTo>
                  <a:lnTo>
                    <a:pt x="168325" y="401955"/>
                  </a:lnTo>
                  <a:lnTo>
                    <a:pt x="244500" y="400558"/>
                  </a:lnTo>
                  <a:lnTo>
                    <a:pt x="296900" y="400532"/>
                  </a:lnTo>
                  <a:lnTo>
                    <a:pt x="302780" y="400558"/>
                  </a:lnTo>
                  <a:lnTo>
                    <a:pt x="376453" y="401955"/>
                  </a:lnTo>
                  <a:lnTo>
                    <a:pt x="392277" y="441706"/>
                  </a:lnTo>
                  <a:lnTo>
                    <a:pt x="416674" y="504304"/>
                  </a:lnTo>
                  <a:lnTo>
                    <a:pt x="424522" y="525881"/>
                  </a:lnTo>
                  <a:lnTo>
                    <a:pt x="569506" y="525881"/>
                  </a:lnTo>
                  <a:close/>
                </a:path>
                <a:path w="2690495" h="526415">
                  <a:moveTo>
                    <a:pt x="1146873" y="525881"/>
                  </a:moveTo>
                  <a:lnTo>
                    <a:pt x="1098753" y="461276"/>
                  </a:lnTo>
                  <a:lnTo>
                    <a:pt x="1063599" y="409460"/>
                  </a:lnTo>
                  <a:lnTo>
                    <a:pt x="1029258" y="357390"/>
                  </a:lnTo>
                  <a:lnTo>
                    <a:pt x="1001890" y="314642"/>
                  </a:lnTo>
                  <a:lnTo>
                    <a:pt x="987640" y="290753"/>
                  </a:lnTo>
                  <a:lnTo>
                    <a:pt x="1039444" y="268643"/>
                  </a:lnTo>
                  <a:lnTo>
                    <a:pt x="1076540" y="238264"/>
                  </a:lnTo>
                  <a:lnTo>
                    <a:pt x="1098854" y="199580"/>
                  </a:lnTo>
                  <a:lnTo>
                    <a:pt x="1106309" y="152527"/>
                  </a:lnTo>
                  <a:lnTo>
                    <a:pt x="1098715" y="105752"/>
                  </a:lnTo>
                  <a:lnTo>
                    <a:pt x="1077671" y="69062"/>
                  </a:lnTo>
                  <a:lnTo>
                    <a:pt x="1045883" y="41402"/>
                  </a:lnTo>
                  <a:lnTo>
                    <a:pt x="1005992" y="21717"/>
                  </a:lnTo>
                  <a:lnTo>
                    <a:pt x="960666" y="8953"/>
                  </a:lnTo>
                  <a:lnTo>
                    <a:pt x="912583" y="2070"/>
                  </a:lnTo>
                  <a:lnTo>
                    <a:pt x="864412" y="0"/>
                  </a:lnTo>
                  <a:lnTo>
                    <a:pt x="635266" y="0"/>
                  </a:lnTo>
                  <a:lnTo>
                    <a:pt x="638644" y="35979"/>
                  </a:lnTo>
                  <a:lnTo>
                    <a:pt x="640842" y="82778"/>
                  </a:lnTo>
                  <a:lnTo>
                    <a:pt x="642099" y="136601"/>
                  </a:lnTo>
                  <a:lnTo>
                    <a:pt x="642670" y="193662"/>
                  </a:lnTo>
                  <a:lnTo>
                    <a:pt x="642797" y="250177"/>
                  </a:lnTo>
                  <a:lnTo>
                    <a:pt x="642581" y="313677"/>
                  </a:lnTo>
                  <a:lnTo>
                    <a:pt x="641794" y="373291"/>
                  </a:lnTo>
                  <a:lnTo>
                    <a:pt x="640207" y="428726"/>
                  </a:lnTo>
                  <a:lnTo>
                    <a:pt x="637603" y="479691"/>
                  </a:lnTo>
                  <a:lnTo>
                    <a:pt x="633755" y="525881"/>
                  </a:lnTo>
                  <a:lnTo>
                    <a:pt x="780249" y="525881"/>
                  </a:lnTo>
                  <a:lnTo>
                    <a:pt x="776224" y="473417"/>
                  </a:lnTo>
                  <a:lnTo>
                    <a:pt x="773785" y="410451"/>
                  </a:lnTo>
                  <a:lnTo>
                    <a:pt x="772541" y="346151"/>
                  </a:lnTo>
                  <a:lnTo>
                    <a:pt x="772071" y="289674"/>
                  </a:lnTo>
                  <a:lnTo>
                    <a:pt x="772007" y="250177"/>
                  </a:lnTo>
                  <a:lnTo>
                    <a:pt x="772287" y="215087"/>
                  </a:lnTo>
                  <a:lnTo>
                    <a:pt x="773137" y="168859"/>
                  </a:lnTo>
                  <a:lnTo>
                    <a:pt x="774547" y="117284"/>
                  </a:lnTo>
                  <a:lnTo>
                    <a:pt x="776516" y="66103"/>
                  </a:lnTo>
                  <a:lnTo>
                    <a:pt x="816457" y="63373"/>
                  </a:lnTo>
                  <a:lnTo>
                    <a:pt x="833628" y="63119"/>
                  </a:lnTo>
                  <a:lnTo>
                    <a:pt x="874433" y="66408"/>
                  </a:lnTo>
                  <a:lnTo>
                    <a:pt x="919543" y="79362"/>
                  </a:lnTo>
                  <a:lnTo>
                    <a:pt x="956043" y="106540"/>
                  </a:lnTo>
                  <a:lnTo>
                    <a:pt x="971080" y="152527"/>
                  </a:lnTo>
                  <a:lnTo>
                    <a:pt x="960272" y="192862"/>
                  </a:lnTo>
                  <a:lnTo>
                    <a:pt x="933056" y="222300"/>
                  </a:lnTo>
                  <a:lnTo>
                    <a:pt x="897255" y="240322"/>
                  </a:lnTo>
                  <a:lnTo>
                    <a:pt x="848728" y="246164"/>
                  </a:lnTo>
                  <a:lnTo>
                    <a:pt x="820077" y="242709"/>
                  </a:lnTo>
                  <a:lnTo>
                    <a:pt x="845642" y="281927"/>
                  </a:lnTo>
                  <a:lnTo>
                    <a:pt x="872667" y="324866"/>
                  </a:lnTo>
                  <a:lnTo>
                    <a:pt x="899998" y="369531"/>
                  </a:lnTo>
                  <a:lnTo>
                    <a:pt x="926503" y="413956"/>
                  </a:lnTo>
                  <a:lnTo>
                    <a:pt x="951077" y="456145"/>
                  </a:lnTo>
                  <a:lnTo>
                    <a:pt x="972566" y="494118"/>
                  </a:lnTo>
                  <a:lnTo>
                    <a:pt x="989850" y="525881"/>
                  </a:lnTo>
                  <a:lnTo>
                    <a:pt x="1146873" y="525881"/>
                  </a:lnTo>
                  <a:close/>
                </a:path>
                <a:path w="2690495" h="526415">
                  <a:moveTo>
                    <a:pt x="1691716" y="0"/>
                  </a:moveTo>
                  <a:lnTo>
                    <a:pt x="1569237" y="0"/>
                  </a:lnTo>
                  <a:lnTo>
                    <a:pt x="1560245" y="38455"/>
                  </a:lnTo>
                  <a:lnTo>
                    <a:pt x="1546491" y="84518"/>
                  </a:lnTo>
                  <a:lnTo>
                    <a:pt x="1529270" y="135623"/>
                  </a:lnTo>
                  <a:lnTo>
                    <a:pt x="1509915" y="189230"/>
                  </a:lnTo>
                  <a:lnTo>
                    <a:pt x="1489697" y="242824"/>
                  </a:lnTo>
                  <a:lnTo>
                    <a:pt x="1469936" y="293827"/>
                  </a:lnTo>
                  <a:lnTo>
                    <a:pt x="1437017" y="377926"/>
                  </a:lnTo>
                  <a:lnTo>
                    <a:pt x="1421244" y="336550"/>
                  </a:lnTo>
                  <a:lnTo>
                    <a:pt x="1405013" y="293103"/>
                  </a:lnTo>
                  <a:lnTo>
                    <a:pt x="1388529" y="247789"/>
                  </a:lnTo>
                  <a:lnTo>
                    <a:pt x="1371955" y="200799"/>
                  </a:lnTo>
                  <a:lnTo>
                    <a:pt x="1355483" y="152336"/>
                  </a:lnTo>
                  <a:lnTo>
                    <a:pt x="1339303" y="102590"/>
                  </a:lnTo>
                  <a:lnTo>
                    <a:pt x="1323594" y="51739"/>
                  </a:lnTo>
                  <a:lnTo>
                    <a:pt x="1308544" y="0"/>
                  </a:lnTo>
                  <a:lnTo>
                    <a:pt x="1164297" y="0"/>
                  </a:lnTo>
                  <a:lnTo>
                    <a:pt x="1376959" y="525881"/>
                  </a:lnTo>
                  <a:lnTo>
                    <a:pt x="1471587" y="525881"/>
                  </a:lnTo>
                  <a:lnTo>
                    <a:pt x="1489176" y="481304"/>
                  </a:lnTo>
                  <a:lnTo>
                    <a:pt x="1507807" y="434721"/>
                  </a:lnTo>
                  <a:lnTo>
                    <a:pt x="1527302" y="386575"/>
                  </a:lnTo>
                  <a:lnTo>
                    <a:pt x="1568107" y="287439"/>
                  </a:lnTo>
                  <a:lnTo>
                    <a:pt x="1610106" y="187553"/>
                  </a:lnTo>
                  <a:lnTo>
                    <a:pt x="1631086" y="138455"/>
                  </a:lnTo>
                  <a:lnTo>
                    <a:pt x="1651800" y="90525"/>
                  </a:lnTo>
                  <a:lnTo>
                    <a:pt x="1672069" y="44221"/>
                  </a:lnTo>
                  <a:lnTo>
                    <a:pt x="1691716" y="0"/>
                  </a:lnTo>
                  <a:close/>
                </a:path>
                <a:path w="2690495" h="526415">
                  <a:moveTo>
                    <a:pt x="2206663" y="525881"/>
                  </a:moveTo>
                  <a:lnTo>
                    <a:pt x="2173122" y="452628"/>
                  </a:lnTo>
                  <a:lnTo>
                    <a:pt x="2149487" y="400418"/>
                  </a:lnTo>
                  <a:lnTo>
                    <a:pt x="2119744" y="334340"/>
                  </a:lnTo>
                  <a:lnTo>
                    <a:pt x="2096109" y="281647"/>
                  </a:lnTo>
                  <a:lnTo>
                    <a:pt x="2068449" y="219684"/>
                  </a:lnTo>
                  <a:lnTo>
                    <a:pt x="2041944" y="159956"/>
                  </a:lnTo>
                  <a:lnTo>
                    <a:pt x="2017852" y="105283"/>
                  </a:lnTo>
                  <a:lnTo>
                    <a:pt x="1997481" y="58521"/>
                  </a:lnTo>
                  <a:lnTo>
                    <a:pt x="1985784" y="31127"/>
                  </a:lnTo>
                  <a:lnTo>
                    <a:pt x="1985784" y="332828"/>
                  </a:lnTo>
                  <a:lnTo>
                    <a:pt x="1928914" y="334213"/>
                  </a:lnTo>
                  <a:lnTo>
                    <a:pt x="1910638" y="334340"/>
                  </a:lnTo>
                  <a:lnTo>
                    <a:pt x="1891144" y="334213"/>
                  </a:lnTo>
                  <a:lnTo>
                    <a:pt x="1832495" y="332828"/>
                  </a:lnTo>
                  <a:lnTo>
                    <a:pt x="1853057" y="283984"/>
                  </a:lnTo>
                  <a:lnTo>
                    <a:pt x="1872983" y="237883"/>
                  </a:lnTo>
                  <a:lnTo>
                    <a:pt x="1892198" y="194754"/>
                  </a:lnTo>
                  <a:lnTo>
                    <a:pt x="1910638" y="154787"/>
                  </a:lnTo>
                  <a:lnTo>
                    <a:pt x="1939188" y="222097"/>
                  </a:lnTo>
                  <a:lnTo>
                    <a:pt x="1960930" y="273621"/>
                  </a:lnTo>
                  <a:lnTo>
                    <a:pt x="1985784" y="332828"/>
                  </a:lnTo>
                  <a:lnTo>
                    <a:pt x="1985784" y="31127"/>
                  </a:lnTo>
                  <a:lnTo>
                    <a:pt x="1982101" y="22491"/>
                  </a:lnTo>
                  <a:lnTo>
                    <a:pt x="1973008" y="12"/>
                  </a:lnTo>
                  <a:lnTo>
                    <a:pt x="1871535" y="12"/>
                  </a:lnTo>
                  <a:lnTo>
                    <a:pt x="1843405" y="68795"/>
                  </a:lnTo>
                  <a:lnTo>
                    <a:pt x="1821611" y="118897"/>
                  </a:lnTo>
                  <a:lnTo>
                    <a:pt x="1796427" y="175742"/>
                  </a:lnTo>
                  <a:lnTo>
                    <a:pt x="1769186" y="236499"/>
                  </a:lnTo>
                  <a:lnTo>
                    <a:pt x="1741220" y="298361"/>
                  </a:lnTo>
                  <a:lnTo>
                    <a:pt x="1724863" y="334340"/>
                  </a:lnTo>
                  <a:lnTo>
                    <a:pt x="1688452" y="414159"/>
                  </a:lnTo>
                  <a:lnTo>
                    <a:pt x="1637157" y="525881"/>
                  </a:lnTo>
                  <a:lnTo>
                    <a:pt x="1763407" y="525881"/>
                  </a:lnTo>
                  <a:lnTo>
                    <a:pt x="1782711" y="465886"/>
                  </a:lnTo>
                  <a:lnTo>
                    <a:pt x="1805457" y="401955"/>
                  </a:lnTo>
                  <a:lnTo>
                    <a:pt x="1881632" y="400558"/>
                  </a:lnTo>
                  <a:lnTo>
                    <a:pt x="1934032" y="400532"/>
                  </a:lnTo>
                  <a:lnTo>
                    <a:pt x="1939912" y="400558"/>
                  </a:lnTo>
                  <a:lnTo>
                    <a:pt x="2013572" y="401955"/>
                  </a:lnTo>
                  <a:lnTo>
                    <a:pt x="2029421" y="441706"/>
                  </a:lnTo>
                  <a:lnTo>
                    <a:pt x="2053805" y="504304"/>
                  </a:lnTo>
                  <a:lnTo>
                    <a:pt x="2061654" y="525881"/>
                  </a:lnTo>
                  <a:lnTo>
                    <a:pt x="2206663" y="525881"/>
                  </a:lnTo>
                  <a:close/>
                </a:path>
                <a:path w="2690495" h="526415">
                  <a:moveTo>
                    <a:pt x="2690418" y="449300"/>
                  </a:moveTo>
                  <a:lnTo>
                    <a:pt x="2647873" y="452589"/>
                  </a:lnTo>
                  <a:lnTo>
                    <a:pt x="2602496" y="455472"/>
                  </a:lnTo>
                  <a:lnTo>
                    <a:pt x="2552623" y="457504"/>
                  </a:lnTo>
                  <a:lnTo>
                    <a:pt x="2496566" y="458292"/>
                  </a:lnTo>
                  <a:lnTo>
                    <a:pt x="2419197" y="458292"/>
                  </a:lnTo>
                  <a:lnTo>
                    <a:pt x="2417775" y="399046"/>
                  </a:lnTo>
                  <a:lnTo>
                    <a:pt x="2416835" y="339394"/>
                  </a:lnTo>
                  <a:lnTo>
                    <a:pt x="2416327" y="287350"/>
                  </a:lnTo>
                  <a:lnTo>
                    <a:pt x="2416162" y="250926"/>
                  </a:lnTo>
                  <a:lnTo>
                    <a:pt x="2416505" y="210781"/>
                  </a:lnTo>
                  <a:lnTo>
                    <a:pt x="2417470" y="157759"/>
                  </a:lnTo>
                  <a:lnTo>
                    <a:pt x="2418931" y="99707"/>
                  </a:lnTo>
                  <a:lnTo>
                    <a:pt x="2420797" y="44513"/>
                  </a:lnTo>
                  <a:lnTo>
                    <a:pt x="2422931" y="12"/>
                  </a:lnTo>
                  <a:lnTo>
                    <a:pt x="2278684" y="12"/>
                  </a:lnTo>
                  <a:lnTo>
                    <a:pt x="2281212" y="44577"/>
                  </a:lnTo>
                  <a:lnTo>
                    <a:pt x="2283295" y="99910"/>
                  </a:lnTo>
                  <a:lnTo>
                    <a:pt x="2284869" y="158064"/>
                  </a:lnTo>
                  <a:lnTo>
                    <a:pt x="2285860" y="211061"/>
                  </a:lnTo>
                  <a:lnTo>
                    <a:pt x="2286216" y="250926"/>
                  </a:lnTo>
                  <a:lnTo>
                    <a:pt x="2286152" y="290131"/>
                  </a:lnTo>
                  <a:lnTo>
                    <a:pt x="2285733" y="346532"/>
                  </a:lnTo>
                  <a:lnTo>
                    <a:pt x="2284590" y="410832"/>
                  </a:lnTo>
                  <a:lnTo>
                    <a:pt x="2282355" y="473710"/>
                  </a:lnTo>
                  <a:lnTo>
                    <a:pt x="2278684" y="525894"/>
                  </a:lnTo>
                  <a:lnTo>
                    <a:pt x="2690418" y="525894"/>
                  </a:lnTo>
                  <a:lnTo>
                    <a:pt x="2690418" y="44930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</p:grpSp>
      <p:sp>
        <p:nvSpPr>
          <p:cNvPr id="56" name="object 17">
            <a:extLst>
              <a:ext uri="{FF2B5EF4-FFF2-40B4-BE49-F238E27FC236}">
                <a16:creationId xmlns:a16="http://schemas.microsoft.com/office/drawing/2014/main" id="{D875B128-FD22-364C-83F6-0BBB94EADCF5}"/>
              </a:ext>
            </a:extLst>
          </p:cNvPr>
          <p:cNvSpPr txBox="1"/>
          <p:nvPr/>
        </p:nvSpPr>
        <p:spPr>
          <a:xfrm>
            <a:off x="8556440" y="5894499"/>
            <a:ext cx="3333394" cy="319885"/>
          </a:xfrm>
          <a:prstGeom prst="rect">
            <a:avLst/>
          </a:prstGeom>
        </p:spPr>
        <p:txBody>
          <a:bodyPr vert="horz" wrap="square" lIns="0" tIns="12062" rIns="0" bIns="0" rtlCol="0">
            <a:spAutoFit/>
          </a:bodyPr>
          <a:lstStyle/>
          <a:p>
            <a:pPr marL="12697" algn="r">
              <a:lnSpc>
                <a:spcPct val="100000"/>
              </a:lnSpc>
              <a:spcBef>
                <a:spcPts val="95"/>
              </a:spcBef>
            </a:pPr>
            <a:r>
              <a:rPr sz="2000" spc="-30">
                <a:latin typeface="BNPP Sans"/>
                <a:cs typeface="BNPP Sans"/>
              </a:rPr>
              <a:t>For </a:t>
            </a:r>
            <a:r>
              <a:rPr sz="2000" spc="-5">
                <a:latin typeface="BNPP Sans"/>
                <a:cs typeface="BNPP Sans"/>
              </a:rPr>
              <a:t>the many journeys in</a:t>
            </a:r>
            <a:r>
              <a:rPr sz="2000" spc="-15">
                <a:latin typeface="BNPP Sans"/>
                <a:cs typeface="BNPP Sans"/>
              </a:rPr>
              <a:t> </a:t>
            </a:r>
            <a:r>
              <a:rPr sz="2000" spc="-5">
                <a:latin typeface="BNPP Sans"/>
                <a:cs typeface="BNPP Sans"/>
              </a:rPr>
              <a:t>life</a:t>
            </a:r>
            <a:endParaRPr sz="2000">
              <a:latin typeface="BNPP Sans"/>
              <a:cs typeface="BNPP Sans"/>
            </a:endParaRPr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E3990B9E-7E28-3243-9C5B-24DDF6890EC1}"/>
              </a:ext>
            </a:extLst>
          </p:cNvPr>
          <p:cNvCxnSpPr/>
          <p:nvPr/>
        </p:nvCxnSpPr>
        <p:spPr>
          <a:xfrm flipH="1">
            <a:off x="0" y="5238928"/>
            <a:ext cx="12192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>
          <a:xfrm>
            <a:off x="1463922" y="4629036"/>
            <a:ext cx="4656000" cy="887713"/>
          </a:xfrm>
          <a:prstGeom prst="rect">
            <a:avLst/>
          </a:prstGeom>
          <a:solidFill>
            <a:srgbClr val="009159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429" tIns="119517" rIns="121429" bIns="1195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4329"/>
            <a:endParaRPr lang="fr-FR" sz="1300" noProof="0">
              <a:solidFill>
                <a:srgbClr val="43B02A"/>
              </a:solidFill>
            </a:endParaRPr>
          </a:p>
        </p:txBody>
      </p:sp>
      <p:sp>
        <p:nvSpPr>
          <p:cNvPr id="19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1641409" y="4775576"/>
            <a:ext cx="4224000" cy="623087"/>
          </a:xfrm>
          <a:prstGeom prst="rect">
            <a:avLst/>
          </a:prstGeom>
        </p:spPr>
        <p:txBody>
          <a:bodyPr lIns="0" tIns="45712" rIns="0" bIns="45712" anchor="ctr">
            <a:noAutofit/>
          </a:bodyPr>
          <a:lstStyle>
            <a:lvl1pPr marL="0" indent="0" algn="l">
              <a:spcBef>
                <a:spcPts val="300"/>
              </a:spcBef>
              <a:buNone/>
              <a:defRPr sz="1600" b="0" i="0" cap="all" baseline="0">
                <a:solidFill>
                  <a:schemeClr val="bg1"/>
                </a:solidFill>
                <a:latin typeface="BNPP Sans" panose="02000000000000000000" pitchFamily="2" charset="0"/>
              </a:defRPr>
            </a:lvl1pPr>
            <a:lvl2pPr marL="607166" indent="0">
              <a:buNone/>
              <a:defRPr sz="2699" b="1"/>
            </a:lvl2pPr>
            <a:lvl3pPr marL="1214329" indent="0">
              <a:buNone/>
              <a:defRPr sz="2400" b="1"/>
            </a:lvl3pPr>
            <a:lvl4pPr marL="1821496" indent="0">
              <a:buNone/>
              <a:defRPr sz="2100" b="1"/>
            </a:lvl4pPr>
            <a:lvl5pPr marL="2428660" indent="0">
              <a:buNone/>
              <a:defRPr sz="2100" b="1"/>
            </a:lvl5pPr>
            <a:lvl6pPr marL="3035825" indent="0">
              <a:buNone/>
              <a:defRPr sz="2100" b="1"/>
            </a:lvl6pPr>
            <a:lvl7pPr marL="3642989" indent="0">
              <a:buNone/>
              <a:defRPr sz="2100" b="1"/>
            </a:lvl7pPr>
            <a:lvl8pPr marL="4250155" indent="0">
              <a:buNone/>
              <a:defRPr sz="2100" b="1"/>
            </a:lvl8pPr>
            <a:lvl9pPr marL="4857319" indent="0">
              <a:buNone/>
              <a:defRPr sz="2100" b="1"/>
            </a:lvl9pPr>
          </a:lstStyle>
          <a:p>
            <a:r>
              <a:rPr lang="fr-FR" noProof="0" err="1"/>
              <a:t>author’s</a:t>
            </a:r>
            <a:r>
              <a:rPr lang="fr-FR" noProof="0"/>
              <a:t> </a:t>
            </a:r>
            <a:r>
              <a:rPr lang="fr-FR" noProof="0" err="1"/>
              <a:t>name</a:t>
            </a:r>
            <a:endParaRPr lang="fr-FR" noProof="0"/>
          </a:p>
          <a:p>
            <a:r>
              <a:rPr lang="fr-FR" noProof="0"/>
              <a:t>Location, Date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2541FC13-43AF-B548-9E1F-4514CEE89CDE}"/>
              </a:ext>
            </a:extLst>
          </p:cNvPr>
          <p:cNvSpPr txBox="1"/>
          <p:nvPr/>
        </p:nvSpPr>
        <p:spPr>
          <a:xfrm>
            <a:off x="12425749" y="3555177"/>
            <a:ext cx="0" cy="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algn="l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17455948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15">
            <a:extLst>
              <a:ext uri="{FF2B5EF4-FFF2-40B4-BE49-F238E27FC236}">
                <a16:creationId xmlns:a16="http://schemas.microsoft.com/office/drawing/2014/main" id="{7740819E-7354-4673-B9B9-E6DAB0E708EC}"/>
              </a:ext>
            </a:extLst>
          </p:cNvPr>
          <p:cNvGrpSpPr/>
          <p:nvPr/>
        </p:nvGrpSpPr>
        <p:grpSpPr>
          <a:xfrm>
            <a:off x="-8" y="0"/>
            <a:ext cx="12192008" cy="6873774"/>
            <a:chOff x="-8" y="-7888"/>
            <a:chExt cx="12192008" cy="6873774"/>
          </a:xfrm>
        </p:grpSpPr>
        <p:pic>
          <p:nvPicPr>
            <p:cNvPr id="7" name="Picture 3" descr="A picture containing person, table, sitting, indoor&#10;&#10;Description automatically generated">
              <a:extLst>
                <a:ext uri="{FF2B5EF4-FFF2-40B4-BE49-F238E27FC236}">
                  <a16:creationId xmlns:a16="http://schemas.microsoft.com/office/drawing/2014/main" id="{0290F814-C33B-455D-BD6F-E58795E3C4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0" y="-7888"/>
              <a:ext cx="12192000" cy="6865886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8A89788-DD93-4FEF-BE86-194C598C77C7}"/>
                </a:ext>
              </a:extLst>
            </p:cNvPr>
            <p:cNvSpPr/>
            <p:nvPr/>
          </p:nvSpPr>
          <p:spPr>
            <a:xfrm>
              <a:off x="-8" y="0"/>
              <a:ext cx="12192000" cy="6865886"/>
            </a:xfrm>
            <a:prstGeom prst="rect">
              <a:avLst/>
            </a:prstGeom>
            <a:solidFill>
              <a:srgbClr val="F2F2F2">
                <a:alpha val="3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CF7F161-48B7-41D9-AB64-B507DDBADD42}"/>
                </a:ext>
              </a:extLst>
            </p:cNvPr>
            <p:cNvSpPr/>
            <p:nvPr/>
          </p:nvSpPr>
          <p:spPr>
            <a:xfrm>
              <a:off x="0" y="2543619"/>
              <a:ext cx="12192000" cy="4314379"/>
            </a:xfrm>
            <a:prstGeom prst="rect">
              <a:avLst/>
            </a:prstGeom>
            <a:solidFill>
              <a:schemeClr val="tx2">
                <a:lumMod val="50000"/>
                <a:alpha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8062996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080"/>
            <a:ext cx="12192000" cy="611221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166" tIns="60580" rIns="121166" bIns="60580" rtlCol="0" anchor="ctr"/>
          <a:lstStyle/>
          <a:p>
            <a:pPr algn="ctr" defTabSz="1211636"/>
            <a:endParaRPr lang="pt-PT" sz="1800">
              <a:solidFill>
                <a:srgbClr val="FFFFFF"/>
              </a:solidFill>
            </a:endParaRP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40F1A7B-CF5D-445A-82FD-1CE05CF0FA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282434" y="6333213"/>
            <a:ext cx="1875651" cy="299049"/>
          </a:xfrm>
          <a:prstGeom prst="rect">
            <a:avLst/>
          </a:prstGeom>
          <a:ln>
            <a:solidFill>
              <a:srgbClr val="FF0000"/>
            </a:solidFill>
          </a:ln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505226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necteur droit 8"/>
          <p:cNvCxnSpPr/>
          <p:nvPr/>
        </p:nvCxnSpPr>
        <p:spPr>
          <a:xfrm>
            <a:off x="456772" y="879000"/>
            <a:ext cx="11280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0" y="866927"/>
            <a:ext cx="12192000" cy="524719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166" tIns="60580" rIns="121166" bIns="60580" rtlCol="0" anchor="ctr"/>
          <a:lstStyle/>
          <a:p>
            <a:pPr algn="ctr" defTabSz="1211636"/>
            <a:endParaRPr lang="pt-PT" sz="1800">
              <a:solidFill>
                <a:srgbClr val="FFFFFF"/>
              </a:solidFill>
            </a:endParaRPr>
          </a:p>
        </p:txBody>
      </p:sp>
      <p:sp>
        <p:nvSpPr>
          <p:cNvPr id="12" name="Titre 9"/>
          <p:cNvSpPr>
            <a:spLocks noGrp="1"/>
          </p:cNvSpPr>
          <p:nvPr>
            <p:ph type="title" hasCustomPrompt="1"/>
          </p:nvPr>
        </p:nvSpPr>
        <p:spPr>
          <a:xfrm>
            <a:off x="456772" y="99026"/>
            <a:ext cx="11280000" cy="745664"/>
          </a:xfrm>
        </p:spPr>
        <p:txBody>
          <a:bodyPr>
            <a:normAutofit/>
          </a:bodyPr>
          <a:lstStyle>
            <a:lvl1pPr>
              <a:defRPr sz="2899" baseline="0"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84B1DA12-24E9-493F-ADE6-53195E2791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282434" y="6333213"/>
            <a:ext cx="1875651" cy="299049"/>
          </a:xfrm>
          <a:prstGeom prst="rect">
            <a:avLst/>
          </a:prstGeom>
          <a:ln>
            <a:solidFill>
              <a:srgbClr val="FF0000"/>
            </a:solidFill>
          </a:ln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23845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4700520"/>
      </p:ext>
    </p:extLst>
  </p:cSld>
  <p:clrMapOvr>
    <a:masterClrMapping/>
  </p:clrMapOvr>
  <p:transition spd="slow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1788" b="1" i="0" baseline="0">
              <a:solidFill>
                <a:schemeClr val="tx1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C71CAF9-4461-454A-B702-D536C3775752}" type="slidenum">
              <a:rPr lang="en-US" smtClean="0"/>
              <a:t>‹N°›</a:t>
            </a:fld>
            <a:endParaRPr lang="en-US"/>
          </a:p>
        </p:txBody>
      </p:sp>
      <p:sp>
        <p:nvSpPr>
          <p:cNvPr id="7" name="Espace réservé du titre 1"/>
          <p:cNvSpPr>
            <a:spLocks noGrp="1"/>
          </p:cNvSpPr>
          <p:nvPr>
            <p:ph type="title"/>
          </p:nvPr>
        </p:nvSpPr>
        <p:spPr>
          <a:xfrm>
            <a:off x="468926" y="32400"/>
            <a:ext cx="9082800" cy="72000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fr-FR" noProof="0"/>
              <a:t>Modifiez le style du titre</a:t>
            </a:r>
          </a:p>
        </p:txBody>
      </p:sp>
      <p:cxnSp>
        <p:nvCxnSpPr>
          <p:cNvPr id="11" name="Connecteur droit 10"/>
          <p:cNvCxnSpPr/>
          <p:nvPr/>
        </p:nvCxnSpPr>
        <p:spPr>
          <a:xfrm>
            <a:off x="215542" y="813527"/>
            <a:ext cx="118080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015436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1CAF9-4461-454A-B702-D536C3775752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2905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23F61434-0273-0C42-A2A5-CB90B42A27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31363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-12914" y="5082369"/>
            <a:ext cx="12204915" cy="1775632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450" tIns="119537" rIns="121450" bIns="1195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4537"/>
            <a:endParaRPr lang="fr-FR" sz="1900">
              <a:solidFill>
                <a:srgbClr val="000000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520271" y="478827"/>
            <a:ext cx="7104790" cy="1334676"/>
          </a:xfrm>
        </p:spPr>
        <p:txBody>
          <a:bodyPr anchor="t">
            <a:noAutofit/>
          </a:bodyPr>
          <a:lstStyle>
            <a:lvl1pPr algn="l">
              <a:lnSpc>
                <a:spcPct val="85000"/>
              </a:lnSpc>
              <a:defRPr sz="4799" b="1" cap="all" baseline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presentation title </a:t>
            </a:r>
            <a:br>
              <a:rPr lang="en-GB" noProof="0"/>
            </a:br>
            <a:r>
              <a:rPr lang="en-GB" noProof="0"/>
              <a:t>on multi-lines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520271" y="1800377"/>
            <a:ext cx="7104000" cy="432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3299" cap="all" baseline="0">
                <a:solidFill>
                  <a:schemeClr val="tx1"/>
                </a:solidFill>
                <a:latin typeface="+mj-lt"/>
              </a:defRPr>
            </a:lvl1pPr>
            <a:lvl2pPr marL="607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4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1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29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36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4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50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58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91B2BD7-90CE-AB4E-A229-32659B659F5F}"/>
              </a:ext>
            </a:extLst>
          </p:cNvPr>
          <p:cNvSpPr/>
          <p:nvPr userDrawn="1"/>
        </p:nvSpPr>
        <p:spPr>
          <a:xfrm>
            <a:off x="1403984" y="4782294"/>
            <a:ext cx="4656000" cy="603328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450" tIns="119537" rIns="121450" bIns="1195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4537"/>
            <a:endParaRPr lang="fr-FR" sz="1300">
              <a:solidFill>
                <a:srgbClr val="43B02A"/>
              </a:solidFill>
            </a:endParaRPr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D25B6D2E-92E0-3845-929B-D1EC48E1CE14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581472" y="4871760"/>
            <a:ext cx="4224000" cy="21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900" b="0" cap="all" baseline="0">
                <a:solidFill>
                  <a:schemeClr val="bg1"/>
                </a:solidFill>
              </a:defRPr>
            </a:lvl1pPr>
            <a:lvl2pPr marL="607269" indent="0">
              <a:buNone/>
              <a:defRPr sz="2699" b="1"/>
            </a:lvl2pPr>
            <a:lvl3pPr marL="1214537" indent="0">
              <a:buNone/>
              <a:defRPr sz="2400" b="1"/>
            </a:lvl3pPr>
            <a:lvl4pPr marL="1821807" indent="0">
              <a:buNone/>
              <a:defRPr sz="2100" b="1"/>
            </a:lvl4pPr>
            <a:lvl5pPr marL="2429075" indent="0">
              <a:buNone/>
              <a:defRPr sz="2100" b="1"/>
            </a:lvl5pPr>
            <a:lvl6pPr marL="3036344" indent="0">
              <a:buNone/>
              <a:defRPr sz="2100" b="1"/>
            </a:lvl6pPr>
            <a:lvl7pPr marL="3643612" indent="0">
              <a:buNone/>
              <a:defRPr sz="2100" b="1"/>
            </a:lvl7pPr>
            <a:lvl8pPr marL="4250881" indent="0">
              <a:buNone/>
              <a:defRPr sz="2100" b="1"/>
            </a:lvl8pPr>
            <a:lvl9pPr marL="4858150" indent="0">
              <a:buNone/>
              <a:defRPr sz="2100" b="1"/>
            </a:lvl9pPr>
          </a:lstStyle>
          <a:p>
            <a:r>
              <a:rPr lang="en-GB" noProof="0"/>
              <a:t>author’s name</a:t>
            </a:r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35343556-52A6-0943-B0EE-5B3202826060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1581472" y="5095280"/>
            <a:ext cx="4224000" cy="216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900" b="0">
                <a:solidFill>
                  <a:schemeClr val="bg1"/>
                </a:solidFill>
              </a:defRPr>
            </a:lvl1pPr>
            <a:lvl2pPr marL="607269" indent="0">
              <a:buNone/>
              <a:defRPr sz="2699" b="1"/>
            </a:lvl2pPr>
            <a:lvl3pPr marL="1214537" indent="0">
              <a:buNone/>
              <a:defRPr sz="2400" b="1"/>
            </a:lvl3pPr>
            <a:lvl4pPr marL="1821807" indent="0">
              <a:buNone/>
              <a:defRPr sz="2100" b="1"/>
            </a:lvl4pPr>
            <a:lvl5pPr marL="2429075" indent="0">
              <a:buNone/>
              <a:defRPr sz="2100" b="1"/>
            </a:lvl5pPr>
            <a:lvl6pPr marL="3036344" indent="0">
              <a:buNone/>
              <a:defRPr sz="2100" b="1"/>
            </a:lvl6pPr>
            <a:lvl7pPr marL="3643612" indent="0">
              <a:buNone/>
              <a:defRPr sz="2100" b="1"/>
            </a:lvl7pPr>
            <a:lvl8pPr marL="4250881" indent="0">
              <a:buNone/>
              <a:defRPr sz="2100" b="1"/>
            </a:lvl8pPr>
            <a:lvl9pPr marL="4858150" indent="0">
              <a:buNone/>
              <a:defRPr sz="2100" b="1"/>
            </a:lvl9pPr>
          </a:lstStyle>
          <a:p>
            <a:r>
              <a:rPr lang="en-GB" noProof="0"/>
              <a:t>Location, 00/00/2015</a:t>
            </a: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01DF4410-4461-6344-8A69-73292B2F9AC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6712" y="5457186"/>
            <a:ext cx="3808730" cy="1177363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30803" y="5948697"/>
            <a:ext cx="3163479" cy="296614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71757106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-21367" y="608224"/>
            <a:ext cx="696226" cy="0"/>
          </a:xfrm>
          <a:prstGeom prst="line">
            <a:avLst/>
          </a:prstGeom>
          <a:ln>
            <a:solidFill>
              <a:srgbClr val="0091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83250" y="163319"/>
            <a:ext cx="7104000" cy="43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2400" b="1" cap="all" spc="300" baseline="0">
                <a:solidFill>
                  <a:schemeClr val="tx2"/>
                </a:solidFill>
                <a:latin typeface="BNPP Sans Condensed" panose="02000000000000000000" pitchFamily="2" charset="0"/>
              </a:defRPr>
            </a:lvl1pPr>
            <a:lvl2pPr marL="607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4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1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29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36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4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50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58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186162281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-21367" y="608224"/>
            <a:ext cx="696226" cy="0"/>
          </a:xfrm>
          <a:prstGeom prst="line">
            <a:avLst/>
          </a:prstGeom>
          <a:ln>
            <a:solidFill>
              <a:srgbClr val="0091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83250" y="163319"/>
            <a:ext cx="7104000" cy="43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2400" b="1" cap="all" spc="300" baseline="0">
                <a:solidFill>
                  <a:schemeClr val="tx2"/>
                </a:solidFill>
                <a:latin typeface="BNPP Sans Condensed" panose="02000000000000000000" pitchFamily="2" charset="0"/>
              </a:defRPr>
            </a:lvl1pPr>
            <a:lvl2pPr marL="607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4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1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29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36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4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50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58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18355403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-21367" y="608224"/>
            <a:ext cx="696226" cy="0"/>
          </a:xfrm>
          <a:prstGeom prst="line">
            <a:avLst/>
          </a:prstGeom>
          <a:ln>
            <a:solidFill>
              <a:srgbClr val="0091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83250" y="163319"/>
            <a:ext cx="7104000" cy="43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2400" b="1" cap="all" spc="300" baseline="0">
                <a:solidFill>
                  <a:schemeClr val="tx2"/>
                </a:solidFill>
                <a:latin typeface="BNPP Sans Condensed" panose="02000000000000000000" pitchFamily="2" charset="0"/>
              </a:defRPr>
            </a:lvl1pPr>
            <a:lvl2pPr marL="607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4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1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29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36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4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50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58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38031878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 20" descr="Une image contenant vert, Aileron, Turquoise&#10;&#10;Description générée automatiquement">
            <a:extLst>
              <a:ext uri="{FF2B5EF4-FFF2-40B4-BE49-F238E27FC236}">
                <a16:creationId xmlns:a16="http://schemas.microsoft.com/office/drawing/2014/main" id="{BC468E82-B687-C87C-1703-566546F6B0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2800" y="323051"/>
            <a:ext cx="11545200" cy="5364948"/>
          </a:xfrm>
          <a:prstGeom prst="rect">
            <a:avLst/>
          </a:prstGeom>
        </p:spPr>
      </p:pic>
      <p:sp>
        <p:nvSpPr>
          <p:cNvPr id="3" name="Sous-titre 2">
            <a:extLst>
              <a:ext uri="{FF2B5EF4-FFF2-40B4-BE49-F238E27FC236}">
                <a16:creationId xmlns:a16="http://schemas.microsoft.com/office/drawing/2014/main" id="{E65764E0-AB6E-2B6A-5ABA-EA835CFBFAB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19171" y="3686842"/>
            <a:ext cx="5153655" cy="384721"/>
          </a:xfrm>
        </p:spPr>
        <p:txBody>
          <a:bodyPr wrap="none"/>
          <a:lstStyle>
            <a:lvl1pPr marL="0" indent="0" algn="ctr">
              <a:buNone/>
              <a:defRPr sz="2500" cap="all" baseline="0">
                <a:latin typeface="BNPP Expanded Sans" panose="020000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Sous-titre sur une ligne</a:t>
            </a:r>
            <a:endParaRPr lang="en-GB"/>
          </a:p>
        </p:txBody>
      </p:sp>
      <p:sp>
        <p:nvSpPr>
          <p:cNvPr id="7" name="Espace réservé du titre 1">
            <a:extLst>
              <a:ext uri="{FF2B5EF4-FFF2-40B4-BE49-F238E27FC236}">
                <a16:creationId xmlns:a16="http://schemas.microsoft.com/office/drawing/2014/main" id="{88A445C9-42EC-235D-F3F7-C021A1EBBC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63329" y="1960543"/>
            <a:ext cx="9065342" cy="166776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b="1"/>
            </a:lvl1pPr>
          </a:lstStyle>
          <a:p>
            <a:r>
              <a:rPr lang="fr-FR" err="1"/>
              <a:t>Presentation</a:t>
            </a:r>
            <a:r>
              <a:rPr lang="fr-FR"/>
              <a:t> </a:t>
            </a:r>
            <a:r>
              <a:rPr lang="fr-FR" err="1"/>
              <a:t>title</a:t>
            </a:r>
            <a:br>
              <a:rPr lang="fr-FR"/>
            </a:br>
            <a:r>
              <a:rPr lang="fr-FR"/>
              <a:t>on multi-</a:t>
            </a:r>
            <a:r>
              <a:rPr lang="fr-FR" err="1"/>
              <a:t>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8399714"/>
      </p:ext>
    </p:extLst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 20" descr="Une image contenant vert, Aileron, Turquoise&#10;&#10;Description générée automatiquement">
            <a:extLst>
              <a:ext uri="{FF2B5EF4-FFF2-40B4-BE49-F238E27FC236}">
                <a16:creationId xmlns:a16="http://schemas.microsoft.com/office/drawing/2014/main" id="{BC468E82-B687-C87C-1703-566546F6B0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2800" y="323051"/>
            <a:ext cx="11545200" cy="5364948"/>
          </a:xfrm>
          <a:prstGeom prst="rect">
            <a:avLst/>
          </a:prstGeom>
        </p:spPr>
      </p:pic>
      <p:sp>
        <p:nvSpPr>
          <p:cNvPr id="3" name="Sous-titre 2">
            <a:extLst>
              <a:ext uri="{FF2B5EF4-FFF2-40B4-BE49-F238E27FC236}">
                <a16:creationId xmlns:a16="http://schemas.microsoft.com/office/drawing/2014/main" id="{E65764E0-AB6E-2B6A-5ABA-EA835CFBFAB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19171" y="3686842"/>
            <a:ext cx="5153655" cy="384721"/>
          </a:xfrm>
        </p:spPr>
        <p:txBody>
          <a:bodyPr wrap="none"/>
          <a:lstStyle>
            <a:lvl1pPr marL="0" indent="0" algn="ctr">
              <a:buNone/>
              <a:defRPr sz="2500" cap="all" baseline="0">
                <a:latin typeface="BNPP Expanded Sans" panose="020000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Sous-titre sur une ligne</a:t>
            </a:r>
            <a:endParaRPr lang="en-GB"/>
          </a:p>
        </p:txBody>
      </p:sp>
      <p:sp>
        <p:nvSpPr>
          <p:cNvPr id="7" name="Espace réservé du titre 1">
            <a:extLst>
              <a:ext uri="{FF2B5EF4-FFF2-40B4-BE49-F238E27FC236}">
                <a16:creationId xmlns:a16="http://schemas.microsoft.com/office/drawing/2014/main" id="{88A445C9-42EC-235D-F3F7-C021A1EBBC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63329" y="1960543"/>
            <a:ext cx="9065342" cy="166776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b="1"/>
            </a:lvl1pPr>
          </a:lstStyle>
          <a:p>
            <a:r>
              <a:rPr lang="fr-FR" err="1"/>
              <a:t>Presentation</a:t>
            </a:r>
            <a:r>
              <a:rPr lang="fr-FR"/>
              <a:t> </a:t>
            </a:r>
            <a:r>
              <a:rPr lang="fr-FR" err="1"/>
              <a:t>title</a:t>
            </a:r>
            <a:br>
              <a:rPr lang="fr-FR"/>
            </a:br>
            <a:r>
              <a:rPr lang="fr-FR"/>
              <a:t>on multi-</a:t>
            </a:r>
            <a:r>
              <a:rPr lang="fr-FR" err="1"/>
              <a:t>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1624559"/>
      </p:ext>
    </p:extLst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B3C2704-BE84-9E0E-E5D4-943BDE991644}"/>
              </a:ext>
            </a:extLst>
          </p:cNvPr>
          <p:cNvSpPr/>
          <p:nvPr userDrawn="1"/>
        </p:nvSpPr>
        <p:spPr>
          <a:xfrm>
            <a:off x="324000" y="323999"/>
            <a:ext cx="11545200" cy="536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/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EA94B43C-88F9-9D44-75C9-8529BA57CF66}"/>
              </a:ext>
            </a:extLst>
          </p:cNvPr>
          <p:cNvGrpSpPr/>
          <p:nvPr userDrawn="1"/>
        </p:nvGrpSpPr>
        <p:grpSpPr>
          <a:xfrm>
            <a:off x="324000" y="323999"/>
            <a:ext cx="5624312" cy="5364000"/>
            <a:chOff x="324000" y="323999"/>
            <a:chExt cx="5624312" cy="5364000"/>
          </a:xfrm>
        </p:grpSpPr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7359CE65-F077-734D-C882-132F40729598}"/>
                </a:ext>
              </a:extLst>
            </p:cNvPr>
            <p:cNvSpPr/>
            <p:nvPr/>
          </p:nvSpPr>
          <p:spPr>
            <a:xfrm>
              <a:off x="2856674" y="323999"/>
              <a:ext cx="3091638" cy="1797768"/>
            </a:xfrm>
            <a:custGeom>
              <a:avLst/>
              <a:gdLst>
                <a:gd name="connsiteX0" fmla="*/ 794407 w 3091638"/>
                <a:gd name="connsiteY0" fmla="*/ 0 h 1797768"/>
                <a:gd name="connsiteX1" fmla="*/ 0 w 3091638"/>
                <a:gd name="connsiteY1" fmla="*/ 322859 h 1797768"/>
                <a:gd name="connsiteX2" fmla="*/ 1888485 w 3091638"/>
                <a:gd name="connsiteY2" fmla="*/ 104859 h 1797768"/>
                <a:gd name="connsiteX3" fmla="*/ 1216520 w 3091638"/>
                <a:gd name="connsiteY3" fmla="*/ 943223 h 1797768"/>
                <a:gd name="connsiteX4" fmla="*/ 2508467 w 3091638"/>
                <a:gd name="connsiteY4" fmla="*/ 248451 h 1797768"/>
                <a:gd name="connsiteX5" fmla="*/ 2769277 w 3091638"/>
                <a:gd name="connsiteY5" fmla="*/ 1797768 h 1797768"/>
                <a:gd name="connsiteX6" fmla="*/ 3089078 w 3091638"/>
                <a:gd name="connsiteY6" fmla="*/ 0 h 1797768"/>
                <a:gd name="connsiteX7" fmla="*/ 794280 w 3091638"/>
                <a:gd name="connsiteY7" fmla="*/ 0 h 1797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91638" h="1797768">
                  <a:moveTo>
                    <a:pt x="794407" y="0"/>
                  </a:moveTo>
                  <a:cubicBezTo>
                    <a:pt x="491297" y="100782"/>
                    <a:pt x="203985" y="214050"/>
                    <a:pt x="0" y="322859"/>
                  </a:cubicBezTo>
                  <a:cubicBezTo>
                    <a:pt x="561373" y="198634"/>
                    <a:pt x="1347498" y="133527"/>
                    <a:pt x="1888485" y="104859"/>
                  </a:cubicBezTo>
                  <a:cubicBezTo>
                    <a:pt x="1677110" y="414977"/>
                    <a:pt x="1558236" y="572712"/>
                    <a:pt x="1216520" y="943223"/>
                  </a:cubicBezTo>
                  <a:cubicBezTo>
                    <a:pt x="1803502" y="592206"/>
                    <a:pt x="1968754" y="565577"/>
                    <a:pt x="2508467" y="248451"/>
                  </a:cubicBezTo>
                  <a:cubicBezTo>
                    <a:pt x="2714617" y="550797"/>
                    <a:pt x="2762779" y="1246716"/>
                    <a:pt x="2769277" y="1797768"/>
                  </a:cubicBezTo>
                  <a:cubicBezTo>
                    <a:pt x="2927648" y="1485357"/>
                    <a:pt x="3115834" y="396121"/>
                    <a:pt x="3089078" y="0"/>
                  </a:cubicBezTo>
                  <a:lnTo>
                    <a:pt x="794280" y="0"/>
                  </a:lnTo>
                  <a:close/>
                </a:path>
              </a:pathLst>
            </a:custGeom>
            <a:solidFill>
              <a:schemeClr val="accent3"/>
            </a:solidFill>
            <a:ln w="9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58ADA419-987E-F326-B305-7174F0D914C1}"/>
                </a:ext>
              </a:extLst>
            </p:cNvPr>
            <p:cNvSpPr/>
            <p:nvPr/>
          </p:nvSpPr>
          <p:spPr>
            <a:xfrm>
              <a:off x="324000" y="4150913"/>
              <a:ext cx="1084649" cy="1458472"/>
            </a:xfrm>
            <a:custGeom>
              <a:avLst/>
              <a:gdLst>
                <a:gd name="connsiteX0" fmla="*/ 0 w 1084649"/>
                <a:gd name="connsiteY0" fmla="*/ 1140455 h 1458472"/>
                <a:gd name="connsiteX1" fmla="*/ 272914 w 1084649"/>
                <a:gd name="connsiteY1" fmla="*/ 1458473 h 1458472"/>
                <a:gd name="connsiteX2" fmla="*/ 226537 w 1084649"/>
                <a:gd name="connsiteY2" fmla="*/ 906147 h 1458472"/>
                <a:gd name="connsiteX3" fmla="*/ 1084649 w 1084649"/>
                <a:gd name="connsiteY3" fmla="*/ 1043496 h 1458472"/>
                <a:gd name="connsiteX4" fmla="*/ 305404 w 1084649"/>
                <a:gd name="connsiteY4" fmla="*/ 565068 h 1458472"/>
                <a:gd name="connsiteX5" fmla="*/ 600106 w 1084649"/>
                <a:gd name="connsiteY5" fmla="*/ 0 h 1458472"/>
                <a:gd name="connsiteX6" fmla="*/ 127 w 1084649"/>
                <a:gd name="connsiteY6" fmla="*/ 97470 h 1458472"/>
                <a:gd name="connsiteX7" fmla="*/ 127 w 1084649"/>
                <a:gd name="connsiteY7" fmla="*/ 1140455 h 1458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84649" h="1458472">
                  <a:moveTo>
                    <a:pt x="0" y="1140455"/>
                  </a:moveTo>
                  <a:cubicBezTo>
                    <a:pt x="78613" y="1249010"/>
                    <a:pt x="163468" y="1350429"/>
                    <a:pt x="272914" y="1458473"/>
                  </a:cubicBezTo>
                  <a:cubicBezTo>
                    <a:pt x="218637" y="1264299"/>
                    <a:pt x="204367" y="1110004"/>
                    <a:pt x="226537" y="906147"/>
                  </a:cubicBezTo>
                  <a:cubicBezTo>
                    <a:pt x="513339" y="989601"/>
                    <a:pt x="758860" y="1033558"/>
                    <a:pt x="1084649" y="1043496"/>
                  </a:cubicBezTo>
                  <a:cubicBezTo>
                    <a:pt x="774531" y="928444"/>
                    <a:pt x="551180" y="794662"/>
                    <a:pt x="305404" y="565068"/>
                  </a:cubicBezTo>
                  <a:cubicBezTo>
                    <a:pt x="379048" y="362102"/>
                    <a:pt x="463011" y="203475"/>
                    <a:pt x="600106" y="0"/>
                  </a:cubicBezTo>
                  <a:cubicBezTo>
                    <a:pt x="367963" y="34656"/>
                    <a:pt x="196085" y="61412"/>
                    <a:pt x="127" y="97470"/>
                  </a:cubicBezTo>
                  <a:lnTo>
                    <a:pt x="127" y="1140455"/>
                  </a:lnTo>
                  <a:close/>
                </a:path>
              </a:pathLst>
            </a:custGeom>
            <a:solidFill>
              <a:schemeClr val="accent3"/>
            </a:solidFill>
            <a:ln w="9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1832C0FD-3A3B-1280-90FD-F25884C2E951}"/>
                </a:ext>
              </a:extLst>
            </p:cNvPr>
            <p:cNvSpPr/>
            <p:nvPr/>
          </p:nvSpPr>
          <p:spPr>
            <a:xfrm>
              <a:off x="324000" y="921811"/>
              <a:ext cx="3093792" cy="2077817"/>
            </a:xfrm>
            <a:custGeom>
              <a:avLst/>
              <a:gdLst>
                <a:gd name="connsiteX0" fmla="*/ 255 w 3093792"/>
                <a:gd name="connsiteY0" fmla="*/ 1817135 h 2077817"/>
                <a:gd name="connsiteX1" fmla="*/ 841040 w 3093792"/>
                <a:gd name="connsiteY1" fmla="*/ 1157656 h 2077817"/>
                <a:gd name="connsiteX2" fmla="*/ 1151795 w 3093792"/>
                <a:gd name="connsiteY2" fmla="*/ 2077817 h 2077817"/>
                <a:gd name="connsiteX3" fmla="*/ 1453376 w 3093792"/>
                <a:gd name="connsiteY3" fmla="*/ 955964 h 2077817"/>
                <a:gd name="connsiteX4" fmla="*/ 1765788 w 3093792"/>
                <a:gd name="connsiteY4" fmla="*/ 900923 h 2077817"/>
                <a:gd name="connsiteX5" fmla="*/ 3093792 w 3093792"/>
                <a:gd name="connsiteY5" fmla="*/ 986033 h 2077817"/>
                <a:gd name="connsiteX6" fmla="*/ 1653157 w 3093792"/>
                <a:gd name="connsiteY6" fmla="*/ 467598 h 2077817"/>
                <a:gd name="connsiteX7" fmla="*/ 1892180 w 3093792"/>
                <a:gd name="connsiteY7" fmla="*/ 0 h 2077817"/>
                <a:gd name="connsiteX8" fmla="*/ 1062352 w 3093792"/>
                <a:gd name="connsiteY8" fmla="*/ 417653 h 2077817"/>
                <a:gd name="connsiteX9" fmla="*/ 571311 w 3093792"/>
                <a:gd name="connsiteY9" fmla="*/ 408989 h 2077817"/>
                <a:gd name="connsiteX10" fmla="*/ 255 w 3093792"/>
                <a:gd name="connsiteY10" fmla="*/ 483779 h 2077817"/>
                <a:gd name="connsiteX11" fmla="*/ 255 w 3093792"/>
                <a:gd name="connsiteY11" fmla="*/ 589403 h 2077817"/>
                <a:gd name="connsiteX12" fmla="*/ 575643 w 3093792"/>
                <a:gd name="connsiteY12" fmla="*/ 810079 h 2077817"/>
                <a:gd name="connsiteX13" fmla="*/ 0 w 3093792"/>
                <a:gd name="connsiteY13" fmla="*/ 1543329 h 2077817"/>
                <a:gd name="connsiteX14" fmla="*/ 0 w 3093792"/>
                <a:gd name="connsiteY14" fmla="*/ 1817135 h 2077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093792" h="2077817">
                  <a:moveTo>
                    <a:pt x="255" y="1817135"/>
                  </a:moveTo>
                  <a:cubicBezTo>
                    <a:pt x="266926" y="1580660"/>
                    <a:pt x="632723" y="1269013"/>
                    <a:pt x="841040" y="1157656"/>
                  </a:cubicBezTo>
                  <a:cubicBezTo>
                    <a:pt x="841040" y="1157656"/>
                    <a:pt x="1024894" y="1771394"/>
                    <a:pt x="1151795" y="2077817"/>
                  </a:cubicBezTo>
                  <a:cubicBezTo>
                    <a:pt x="1151795" y="2077817"/>
                    <a:pt x="1264936" y="1368776"/>
                    <a:pt x="1453376" y="955964"/>
                  </a:cubicBezTo>
                  <a:cubicBezTo>
                    <a:pt x="1453376" y="955964"/>
                    <a:pt x="1506762" y="925513"/>
                    <a:pt x="1765788" y="900923"/>
                  </a:cubicBezTo>
                  <a:cubicBezTo>
                    <a:pt x="2026598" y="877607"/>
                    <a:pt x="2394816" y="862190"/>
                    <a:pt x="3093792" y="986033"/>
                  </a:cubicBezTo>
                  <a:cubicBezTo>
                    <a:pt x="3093792" y="986033"/>
                    <a:pt x="2452533" y="575897"/>
                    <a:pt x="1653157" y="467598"/>
                  </a:cubicBezTo>
                  <a:cubicBezTo>
                    <a:pt x="1683481" y="359044"/>
                    <a:pt x="1795475" y="125245"/>
                    <a:pt x="1892180" y="0"/>
                  </a:cubicBezTo>
                  <a:cubicBezTo>
                    <a:pt x="1749480" y="21150"/>
                    <a:pt x="1335267" y="202456"/>
                    <a:pt x="1062352" y="417653"/>
                  </a:cubicBezTo>
                  <a:cubicBezTo>
                    <a:pt x="1062352" y="417653"/>
                    <a:pt x="877224" y="400325"/>
                    <a:pt x="571311" y="408989"/>
                  </a:cubicBezTo>
                  <a:cubicBezTo>
                    <a:pt x="387711" y="417526"/>
                    <a:pt x="177738" y="447595"/>
                    <a:pt x="255" y="483779"/>
                  </a:cubicBezTo>
                  <a:lnTo>
                    <a:pt x="255" y="589403"/>
                  </a:lnTo>
                  <a:cubicBezTo>
                    <a:pt x="234436" y="626734"/>
                    <a:pt x="465687" y="698594"/>
                    <a:pt x="575643" y="810079"/>
                  </a:cubicBezTo>
                  <a:cubicBezTo>
                    <a:pt x="575643" y="810079"/>
                    <a:pt x="319674" y="1042859"/>
                    <a:pt x="0" y="1543329"/>
                  </a:cubicBezTo>
                  <a:lnTo>
                    <a:pt x="0" y="1817135"/>
                  </a:lnTo>
                  <a:close/>
                </a:path>
              </a:pathLst>
            </a:custGeom>
            <a:solidFill>
              <a:schemeClr val="accent3"/>
            </a:solidFill>
            <a:ln w="9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9303AC34-91CB-F98E-F0F5-58185288E070}"/>
                </a:ext>
              </a:extLst>
            </p:cNvPr>
            <p:cNvSpPr/>
            <p:nvPr/>
          </p:nvSpPr>
          <p:spPr>
            <a:xfrm>
              <a:off x="1903895" y="4609721"/>
              <a:ext cx="1861983" cy="1078278"/>
            </a:xfrm>
            <a:custGeom>
              <a:avLst/>
              <a:gdLst>
                <a:gd name="connsiteX0" fmla="*/ 404147 w 1861983"/>
                <a:gd name="connsiteY0" fmla="*/ 1078279 h 1078278"/>
                <a:gd name="connsiteX1" fmla="*/ 912135 w 1861983"/>
                <a:gd name="connsiteY1" fmla="*/ 852761 h 1078278"/>
                <a:gd name="connsiteX2" fmla="*/ 1278314 w 1861983"/>
                <a:gd name="connsiteY2" fmla="*/ 830210 h 1078278"/>
                <a:gd name="connsiteX3" fmla="*/ 1217666 w 1861983"/>
                <a:gd name="connsiteY3" fmla="*/ 583542 h 1078278"/>
                <a:gd name="connsiteX4" fmla="*/ 1861984 w 1861983"/>
                <a:gd name="connsiteY4" fmla="*/ 0 h 1078278"/>
                <a:gd name="connsiteX5" fmla="*/ 1188234 w 1861983"/>
                <a:gd name="connsiteY5" fmla="*/ 393700 h 1078278"/>
                <a:gd name="connsiteX6" fmla="*/ 1164791 w 1861983"/>
                <a:gd name="connsiteY6" fmla="*/ 40134 h 1078278"/>
                <a:gd name="connsiteX7" fmla="*/ 745736 w 1861983"/>
                <a:gd name="connsiteY7" fmla="*/ 556404 h 1078278"/>
                <a:gd name="connsiteX8" fmla="*/ 0 w 1861983"/>
                <a:gd name="connsiteY8" fmla="*/ 659861 h 1078278"/>
                <a:gd name="connsiteX9" fmla="*/ 484926 w 1861983"/>
                <a:gd name="connsiteY9" fmla="*/ 827662 h 1078278"/>
                <a:gd name="connsiteX10" fmla="*/ 181306 w 1861983"/>
                <a:gd name="connsiteY10" fmla="*/ 1076495 h 1078278"/>
                <a:gd name="connsiteX11" fmla="*/ 404147 w 1861983"/>
                <a:gd name="connsiteY11" fmla="*/ 1078151 h 1078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61983" h="1078278">
                  <a:moveTo>
                    <a:pt x="404147" y="1078279"/>
                  </a:moveTo>
                  <a:cubicBezTo>
                    <a:pt x="581503" y="1017504"/>
                    <a:pt x="761280" y="941822"/>
                    <a:pt x="912135" y="852761"/>
                  </a:cubicBezTo>
                  <a:cubicBezTo>
                    <a:pt x="1051777" y="858113"/>
                    <a:pt x="1182501" y="849194"/>
                    <a:pt x="1278314" y="830210"/>
                  </a:cubicBezTo>
                  <a:cubicBezTo>
                    <a:pt x="1253214" y="749304"/>
                    <a:pt x="1238052" y="688911"/>
                    <a:pt x="1217666" y="583542"/>
                  </a:cubicBezTo>
                  <a:cubicBezTo>
                    <a:pt x="1469685" y="388603"/>
                    <a:pt x="1652392" y="212139"/>
                    <a:pt x="1861984" y="0"/>
                  </a:cubicBezTo>
                  <a:cubicBezTo>
                    <a:pt x="1638887" y="155569"/>
                    <a:pt x="1446369" y="271640"/>
                    <a:pt x="1188234" y="393700"/>
                  </a:cubicBezTo>
                  <a:cubicBezTo>
                    <a:pt x="1177022" y="274698"/>
                    <a:pt x="1170779" y="174171"/>
                    <a:pt x="1164791" y="40134"/>
                  </a:cubicBezTo>
                  <a:cubicBezTo>
                    <a:pt x="1023747" y="231633"/>
                    <a:pt x="902324" y="381723"/>
                    <a:pt x="745736" y="556404"/>
                  </a:cubicBezTo>
                  <a:cubicBezTo>
                    <a:pt x="476899" y="631958"/>
                    <a:pt x="262339" y="659861"/>
                    <a:pt x="0" y="659861"/>
                  </a:cubicBezTo>
                  <a:cubicBezTo>
                    <a:pt x="160920" y="742806"/>
                    <a:pt x="316998" y="792496"/>
                    <a:pt x="484926" y="827662"/>
                  </a:cubicBezTo>
                  <a:cubicBezTo>
                    <a:pt x="377009" y="925258"/>
                    <a:pt x="280049" y="1004508"/>
                    <a:pt x="181306" y="1076495"/>
                  </a:cubicBezTo>
                  <a:lnTo>
                    <a:pt x="404147" y="1078151"/>
                  </a:lnTo>
                  <a:close/>
                </a:path>
              </a:pathLst>
            </a:custGeom>
            <a:solidFill>
              <a:schemeClr val="accent3"/>
            </a:solidFill>
            <a:ln w="95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" name="Sous-titre 2">
            <a:extLst>
              <a:ext uri="{FF2B5EF4-FFF2-40B4-BE49-F238E27FC236}">
                <a16:creationId xmlns:a16="http://schemas.microsoft.com/office/drawing/2014/main" id="{E65764E0-AB6E-2B6A-5ABA-EA835CFBFAB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11129" y="3915442"/>
            <a:ext cx="2136803" cy="292388"/>
          </a:xfrm>
        </p:spPr>
        <p:txBody>
          <a:bodyPr wrap="none"/>
          <a:lstStyle>
            <a:lvl1pPr marL="0" indent="0" algn="l">
              <a:buNone/>
              <a:defRPr sz="1900" cap="all" baseline="0">
                <a:solidFill>
                  <a:schemeClr val="accent3"/>
                </a:solidFill>
                <a:latin typeface="BNPP Expanded Sans" panose="020000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err="1"/>
              <a:t>Subtitle</a:t>
            </a:r>
            <a:r>
              <a:rPr lang="fr-FR"/>
              <a:t> </a:t>
            </a:r>
            <a:r>
              <a:rPr lang="fr-FR" err="1"/>
              <a:t>here</a:t>
            </a:r>
            <a:endParaRPr lang="en-GB"/>
          </a:p>
        </p:txBody>
      </p:sp>
      <p:sp>
        <p:nvSpPr>
          <p:cNvPr id="7" name="Espace réservé du titre 1">
            <a:extLst>
              <a:ext uri="{FF2B5EF4-FFF2-40B4-BE49-F238E27FC236}">
                <a16:creationId xmlns:a16="http://schemas.microsoft.com/office/drawing/2014/main" id="{88A445C9-42EC-235D-F3F7-C021A1EBBC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11129" y="2453939"/>
            <a:ext cx="7352071" cy="153631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ts val="5800"/>
              </a:lnSpc>
              <a:defRPr sz="6100" b="1"/>
            </a:lvl1pPr>
          </a:lstStyle>
          <a:p>
            <a:r>
              <a:rPr lang="fr-FR" err="1"/>
              <a:t>Presentation</a:t>
            </a:r>
            <a:r>
              <a:rPr lang="fr-FR"/>
              <a:t> </a:t>
            </a:r>
            <a:r>
              <a:rPr lang="fr-FR" err="1"/>
              <a:t>title</a:t>
            </a:r>
            <a:br>
              <a:rPr lang="fr-FR"/>
            </a:br>
            <a:r>
              <a:rPr lang="fr-FR"/>
              <a:t>on multi-</a:t>
            </a:r>
            <a:r>
              <a:rPr lang="fr-FR" err="1"/>
              <a:t>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4444877"/>
      </p:ext>
    </p:extLst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17.png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heme" Target="../theme/theme8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18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theme" Target="../theme/theme9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C266E16D-9E71-B61D-2112-32FC8FEA5B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2016000"/>
            <a:ext cx="10752863" cy="36933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fr-FR" err="1"/>
              <a:t>Titl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DC2C2B0-0EAD-E6FE-2277-8781AA51CD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999" y="2304000"/>
            <a:ext cx="10752862" cy="8771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C08B9C0E-5A71-6B8A-524D-5E7A21C01C94}"/>
              </a:ext>
            </a:extLst>
          </p:cNvPr>
          <p:cNvSpPr txBox="1">
            <a:spLocks/>
          </p:cNvSpPr>
          <p:nvPr userDrawn="1"/>
        </p:nvSpPr>
        <p:spPr>
          <a:xfrm>
            <a:off x="7754400" y="6513989"/>
            <a:ext cx="4114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110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prstClr val="black"/>
                </a:solidFill>
                <a:latin typeface="BNPP Sans"/>
              </a:rPr>
              <a:t>For the many journeys in life</a:t>
            </a:r>
            <a:endParaRPr lang="en-GB">
              <a:solidFill>
                <a:prstClr val="black"/>
              </a:solidFill>
              <a:latin typeface="BNPP Sans"/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66D80E4-31A7-C2EB-95A9-046F065F1B54}"/>
              </a:ext>
            </a:extLst>
          </p:cNvPr>
          <p:cNvSpPr txBox="1">
            <a:spLocks/>
          </p:cNvSpPr>
          <p:nvPr userDrawn="1"/>
        </p:nvSpPr>
        <p:spPr>
          <a:xfrm>
            <a:off x="5826000" y="6490905"/>
            <a:ext cx="54000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ctr" defTabSz="914400" rtl="0" eaLnBrk="1" latinLnBrk="0" hangingPunct="1">
              <a:defRPr lang="en-GB" sz="1400" kern="1200" cap="all" baseline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02917F-A09E-4626-B5FA-FCFF5B8D0276}" type="slidenum">
              <a:rPr lang="fr-FR" smtClean="0">
                <a:solidFill>
                  <a:schemeClr val="tx1"/>
                </a:solidFill>
                <a:latin typeface="BNPP Sans Condensed"/>
              </a:rPr>
              <a:pPr/>
              <a:t>‹N°›</a:t>
            </a:fld>
            <a:endParaRPr lang="fr-FR">
              <a:solidFill>
                <a:schemeClr val="tx1"/>
              </a:solidFill>
              <a:latin typeface="BNPP Sans Condensed"/>
            </a:endParaRPr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6168BDCF-A256-F866-A334-3A8FBC7C3D8B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24005" y="6472627"/>
            <a:ext cx="1093788" cy="252000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119F8FD0-6133-65A1-9BE3-2CA3143C713F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0963275" y="6642100"/>
            <a:ext cx="119380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000">
                <a:solidFill>
                  <a:srgbClr val="0078D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cation : Internal</a:t>
            </a:r>
          </a:p>
        </p:txBody>
      </p:sp>
    </p:spTree>
    <p:extLst>
      <p:ext uri="{BB962C8B-B14F-4D97-AF65-F5344CB8AC3E}">
        <p14:creationId xmlns:p14="http://schemas.microsoft.com/office/powerpoint/2010/main" val="676389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54" r:id="rId2"/>
    <p:sldLayoutId id="2147483855" r:id="rId3"/>
    <p:sldLayoutId id="2147483856" r:id="rId4"/>
    <p:sldLayoutId id="2147483845" r:id="rId5"/>
    <p:sldLayoutId id="2147483860" r:id="rId6"/>
    <p:sldLayoutId id="2147483861" r:id="rId7"/>
  </p:sldLayoutIdLst>
  <p:transition spd="slow">
    <p:fade/>
  </p:transition>
  <p:hf sldNum="0" hd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buNone/>
        <a:defRPr sz="24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800"/>
        </a:spcAft>
        <a:buFont typeface="Arial" panose="020B0604020202020204" pitchFamily="34" charset="0"/>
        <a:buNone/>
        <a:defRPr sz="2400" kern="1200">
          <a:solidFill>
            <a:schemeClr val="tx2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53" userDrawn="1">
          <p15:clr>
            <a:srgbClr val="F26B43"/>
          </p15:clr>
        </p15:guide>
        <p15:guide id="4" pos="722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588C4D99-9F69-169A-2CCB-CA7749BA018D}"/>
              </a:ext>
            </a:extLst>
          </p:cNvPr>
          <p:cNvSpPr/>
          <p:nvPr userDrawn="1"/>
        </p:nvSpPr>
        <p:spPr>
          <a:xfrm>
            <a:off x="324000" y="323999"/>
            <a:ext cx="11545200" cy="536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/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6F3842E-205D-BAB3-2B04-79B59AF369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3329" y="1960543"/>
            <a:ext cx="9065342" cy="166776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fr-FR" err="1"/>
              <a:t>Presentation</a:t>
            </a:r>
            <a:r>
              <a:rPr lang="fr-FR"/>
              <a:t> </a:t>
            </a:r>
            <a:r>
              <a:rPr lang="fr-FR" err="1"/>
              <a:t>title</a:t>
            </a:r>
            <a:br>
              <a:rPr lang="fr-FR"/>
            </a:br>
            <a:r>
              <a:rPr lang="fr-FR"/>
              <a:t>on multi-</a:t>
            </a:r>
            <a:r>
              <a:rPr lang="fr-FR" err="1"/>
              <a:t>lines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86E743D-CC47-5666-31FC-C70F5DB370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99839" y="4236356"/>
            <a:ext cx="5192319" cy="110799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pic>
        <p:nvPicPr>
          <p:cNvPr id="11" name="Graphique 10">
            <a:extLst>
              <a:ext uri="{FF2B5EF4-FFF2-40B4-BE49-F238E27FC236}">
                <a16:creationId xmlns:a16="http://schemas.microsoft.com/office/drawing/2014/main" id="{4C16E1B1-8906-B5BB-A73A-ECBA6D3EE01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24000" y="5974411"/>
            <a:ext cx="2592000" cy="597177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73A4C3B6-7916-5466-7EE7-7FA840EECAF8}"/>
              </a:ext>
            </a:extLst>
          </p:cNvPr>
          <p:cNvSpPr txBox="1"/>
          <p:nvPr userDrawn="1"/>
        </p:nvSpPr>
        <p:spPr>
          <a:xfrm>
            <a:off x="8656781" y="6119111"/>
            <a:ext cx="3212419" cy="30777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NPP Sans" panose="02000000000000000000" pitchFamily="50" charset="0"/>
              </a:rPr>
              <a:t>For the many journeys in life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FBA45E65-1561-E936-6D4B-968CC82FE277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0963275" y="6642100"/>
            <a:ext cx="119380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000">
                <a:solidFill>
                  <a:srgbClr val="0078D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cation : Internal</a:t>
            </a:r>
          </a:p>
        </p:txBody>
      </p:sp>
    </p:spTree>
    <p:extLst>
      <p:ext uri="{BB962C8B-B14F-4D97-AF65-F5344CB8AC3E}">
        <p14:creationId xmlns:p14="http://schemas.microsoft.com/office/powerpoint/2010/main" val="1439197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58" r:id="rId3"/>
    <p:sldLayoutId id="2147483848" r:id="rId4"/>
  </p:sldLayoutIdLst>
  <p:transition spd="slow">
    <p:fade/>
  </p:transition>
  <p:txStyles>
    <p:titleStyle>
      <a:lvl1pPr algn="ctr" defTabSz="914400" rtl="0" eaLnBrk="1" latinLnBrk="0" hangingPunct="1">
        <a:lnSpc>
          <a:spcPts val="6300"/>
        </a:lnSpc>
        <a:spcBef>
          <a:spcPct val="0"/>
        </a:spcBef>
        <a:buNone/>
        <a:defRPr sz="6600" b="1" kern="1200" cap="all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6F3842E-205D-BAB3-2B04-79B59AF369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93254"/>
            <a:ext cx="3239990" cy="26930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>
              <a:lnSpc>
                <a:spcPts val="2000"/>
              </a:lnSpc>
            </a:pPr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86E743D-CC47-5666-31FC-C70F5DB370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22890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pPr lvl="0">
              <a:lnSpc>
                <a:spcPts val="1700"/>
              </a:lnSpc>
              <a:spcBef>
                <a:spcPts val="0"/>
              </a:spcBef>
            </a:pPr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pied de page 4">
            <a:extLst>
              <a:ext uri="{FF2B5EF4-FFF2-40B4-BE49-F238E27FC236}">
                <a16:creationId xmlns:a16="http://schemas.microsoft.com/office/drawing/2014/main" id="{92216B1F-9C45-F2C6-BE90-72D859D95A11}"/>
              </a:ext>
            </a:extLst>
          </p:cNvPr>
          <p:cNvSpPr txBox="1">
            <a:spLocks/>
          </p:cNvSpPr>
          <p:nvPr userDrawn="1"/>
        </p:nvSpPr>
        <p:spPr>
          <a:xfrm>
            <a:off x="7754400" y="6513989"/>
            <a:ext cx="4114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110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prstClr val="black"/>
                </a:solidFill>
                <a:latin typeface="BNPP Sans"/>
              </a:rPr>
              <a:t>For the many journeys in life</a:t>
            </a:r>
            <a:endParaRPr lang="en-GB">
              <a:solidFill>
                <a:prstClr val="black"/>
              </a:solidFill>
              <a:latin typeface="BNPP Sans"/>
            </a:endParaRP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BA1B7259-7565-8FBA-5825-35D1D2F2C83F}"/>
              </a:ext>
            </a:extLst>
          </p:cNvPr>
          <p:cNvSpPr txBox="1">
            <a:spLocks/>
          </p:cNvSpPr>
          <p:nvPr userDrawn="1"/>
        </p:nvSpPr>
        <p:spPr>
          <a:xfrm>
            <a:off x="5826000" y="6490905"/>
            <a:ext cx="54000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ctr" defTabSz="914400" rtl="0" eaLnBrk="1" latinLnBrk="0" hangingPunct="1">
              <a:defRPr lang="en-GB" sz="1400" kern="1200" cap="all" baseline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02917F-A09E-4626-B5FA-FCFF5B8D0276}" type="slidenum">
              <a:rPr lang="fr-FR" smtClean="0">
                <a:solidFill>
                  <a:schemeClr val="tx1"/>
                </a:solidFill>
                <a:latin typeface="BNPP Sans Condensed"/>
              </a:rPr>
              <a:pPr/>
              <a:t>‹N°›</a:t>
            </a:fld>
            <a:endParaRPr lang="fr-FR">
              <a:solidFill>
                <a:schemeClr val="tx1"/>
              </a:solidFill>
              <a:latin typeface="BNPP Sans Condensed"/>
            </a:endParaRPr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id="{985E09CE-A4A9-D8BD-946D-72B642DAE28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4005" y="6472627"/>
            <a:ext cx="1093788" cy="252000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625C7A27-1148-8C3F-ECCB-B63E27633298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0963275" y="6642100"/>
            <a:ext cx="119380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000">
                <a:solidFill>
                  <a:srgbClr val="0078D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cation : Internal</a:t>
            </a:r>
          </a:p>
        </p:txBody>
      </p:sp>
    </p:spTree>
    <p:extLst>
      <p:ext uri="{BB962C8B-B14F-4D97-AF65-F5344CB8AC3E}">
        <p14:creationId xmlns:p14="http://schemas.microsoft.com/office/powerpoint/2010/main" val="2802922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6" r:id="rId2"/>
    <p:sldLayoutId id="2147483850" r:id="rId3"/>
  </p:sldLayoutIdLst>
  <p:transition spd="slow">
    <p:fade/>
  </p:transition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2000" i="0" kern="1200" cap="all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lang="fr-FR" sz="1700" kern="1200" dirty="0">
          <a:solidFill>
            <a:schemeClr val="tx2"/>
          </a:solidFill>
          <a:latin typeface="BNPP Sans Light" panose="02000503020000020004" pitchFamily="50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6F3842E-205D-BAB3-2B04-79B59AF369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3327" y="2467814"/>
            <a:ext cx="9065342" cy="17203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fr-FR" err="1"/>
              <a:t>Chapter</a:t>
            </a:r>
            <a:r>
              <a:rPr lang="fr-FR"/>
              <a:t> </a:t>
            </a:r>
            <a:r>
              <a:rPr lang="fr-FR" err="1"/>
              <a:t>title</a:t>
            </a:r>
            <a:br>
              <a:rPr lang="fr-FR"/>
            </a:br>
            <a:r>
              <a:rPr lang="fr-FR"/>
              <a:t>on multi-</a:t>
            </a:r>
            <a:r>
              <a:rPr lang="fr-FR" err="1"/>
              <a:t>lines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86E743D-CC47-5666-31FC-C70F5DB370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99839" y="4236356"/>
            <a:ext cx="5192319" cy="110799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u pied de page 4">
            <a:extLst>
              <a:ext uri="{FF2B5EF4-FFF2-40B4-BE49-F238E27FC236}">
                <a16:creationId xmlns:a16="http://schemas.microsoft.com/office/drawing/2014/main" id="{1D174A53-DEF1-B874-6BB5-905B7EFA08BA}"/>
              </a:ext>
            </a:extLst>
          </p:cNvPr>
          <p:cNvSpPr txBox="1">
            <a:spLocks/>
          </p:cNvSpPr>
          <p:nvPr userDrawn="1"/>
        </p:nvSpPr>
        <p:spPr>
          <a:xfrm>
            <a:off x="7754400" y="6513989"/>
            <a:ext cx="41148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110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prstClr val="black"/>
                </a:solidFill>
                <a:latin typeface="BNPP Sans"/>
              </a:rPr>
              <a:t>For the many journeys in life</a:t>
            </a:r>
            <a:endParaRPr lang="en-GB">
              <a:solidFill>
                <a:prstClr val="black"/>
              </a:solidFill>
              <a:latin typeface="BNPP Sans"/>
            </a:endParaRPr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FC21FF22-DA6C-A77C-58DA-0E09D51FC99A}"/>
              </a:ext>
            </a:extLst>
          </p:cNvPr>
          <p:cNvSpPr txBox="1">
            <a:spLocks/>
          </p:cNvSpPr>
          <p:nvPr userDrawn="1"/>
        </p:nvSpPr>
        <p:spPr>
          <a:xfrm>
            <a:off x="5826000" y="6490905"/>
            <a:ext cx="54000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fr-FR"/>
            </a:defPPr>
            <a:lvl1pPr marL="0" algn="ctr" defTabSz="914400" rtl="0" eaLnBrk="1" latinLnBrk="0" hangingPunct="1">
              <a:defRPr lang="en-GB" sz="1400" kern="1200" cap="all" baseline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02917F-A09E-4626-B5FA-FCFF5B8D0276}" type="slidenum">
              <a:rPr lang="fr-FR" smtClean="0">
                <a:solidFill>
                  <a:schemeClr val="tx1"/>
                </a:solidFill>
                <a:latin typeface="BNPP Sans Condensed"/>
              </a:rPr>
              <a:pPr/>
              <a:t>‹N°›</a:t>
            </a:fld>
            <a:endParaRPr lang="fr-FR">
              <a:solidFill>
                <a:schemeClr val="tx1"/>
              </a:solidFill>
              <a:latin typeface="BNPP Sans Condensed"/>
            </a:endParaRPr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id="{E9760887-09D3-8CF1-5F48-29D7C326FDD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4005" y="6472627"/>
            <a:ext cx="1093788" cy="252000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B97C82BA-31C0-E4E6-AB1A-766C4B30836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0963275" y="6642100"/>
            <a:ext cx="119380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000">
                <a:solidFill>
                  <a:srgbClr val="0078D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cation : Internal</a:t>
            </a:r>
          </a:p>
        </p:txBody>
      </p:sp>
    </p:spTree>
    <p:extLst>
      <p:ext uri="{BB962C8B-B14F-4D97-AF65-F5344CB8AC3E}">
        <p14:creationId xmlns:p14="http://schemas.microsoft.com/office/powerpoint/2010/main" val="3155849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840" r:id="rId2"/>
    <p:sldLayoutId id="2147483849" r:id="rId3"/>
  </p:sldLayoutIdLst>
  <p:transition spd="slow">
    <p:fade/>
  </p:transition>
  <p:hf sldNum="0" hdr="0" dt="0"/>
  <p:txStyles>
    <p:titleStyle>
      <a:lvl1pPr algn="ctr" defTabSz="914400" rtl="0" eaLnBrk="1" latinLnBrk="0" hangingPunct="1">
        <a:lnSpc>
          <a:spcPts val="6500"/>
        </a:lnSpc>
        <a:spcBef>
          <a:spcPct val="0"/>
        </a:spcBef>
        <a:buNone/>
        <a:defRPr sz="6800" b="1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id="{D13990EB-66C4-EA39-8D2C-DEE0F36B09C8}"/>
              </a:ext>
            </a:extLst>
          </p:cNvPr>
          <p:cNvSpPr txBox="1"/>
          <p:nvPr userDrawn="1"/>
        </p:nvSpPr>
        <p:spPr>
          <a:xfrm>
            <a:off x="8656781" y="6119111"/>
            <a:ext cx="3212419" cy="30777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NPP Sans" panose="02000000000000000000" pitchFamily="50" charset="0"/>
              </a:rPr>
              <a:t>For the many journeys in life</a:t>
            </a: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C266E16D-9E71-B61D-2112-32FC8FEA5B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4969" y="1544060"/>
            <a:ext cx="4602222" cy="123110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r>
              <a:rPr lang="fr-FR" err="1"/>
              <a:t>Thank</a:t>
            </a:r>
            <a:r>
              <a:rPr lang="fr-FR"/>
              <a:t> </a:t>
            </a:r>
            <a:r>
              <a:rPr lang="fr-FR" err="1"/>
              <a:t>you</a:t>
            </a:r>
            <a:endParaRPr lang="en-GB"/>
          </a:p>
        </p:txBody>
      </p:sp>
      <p:pic>
        <p:nvPicPr>
          <p:cNvPr id="3" name="Graphique 2">
            <a:extLst>
              <a:ext uri="{FF2B5EF4-FFF2-40B4-BE49-F238E27FC236}">
                <a16:creationId xmlns:a16="http://schemas.microsoft.com/office/drawing/2014/main" id="{AA55BBAF-BA8D-0387-191D-A88A9E9D2F2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4000" y="5974411"/>
            <a:ext cx="2592000" cy="597177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B46EAF40-7387-3ED4-31A6-57A03336392C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0963275" y="6642100"/>
            <a:ext cx="119380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000">
                <a:solidFill>
                  <a:srgbClr val="0078D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cation : Internal</a:t>
            </a:r>
          </a:p>
        </p:txBody>
      </p:sp>
    </p:spTree>
    <p:extLst>
      <p:ext uri="{BB962C8B-B14F-4D97-AF65-F5344CB8AC3E}">
        <p14:creationId xmlns:p14="http://schemas.microsoft.com/office/powerpoint/2010/main" val="385131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</p:sldLayoutIdLst>
  <p:transition spd="slow">
    <p:fade/>
  </p:transition>
  <p:txStyles>
    <p:titleStyle>
      <a:lvl1pPr algn="ctr" defTabSz="914400" rtl="0" eaLnBrk="1" latinLnBrk="0" hangingPunct="1">
        <a:lnSpc>
          <a:spcPct val="100000"/>
        </a:lnSpc>
        <a:spcBef>
          <a:spcPts val="0"/>
        </a:spcBef>
        <a:buNone/>
        <a:defRPr sz="8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6772" y="99026"/>
            <a:ext cx="11280000" cy="745664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3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470085" y="6395560"/>
            <a:ext cx="2688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pPr defTabSz="1211636">
              <a:defRPr/>
            </a:pPr>
            <a:r>
              <a:rPr lang="en-GB">
                <a:solidFill>
                  <a:srgbClr val="000000"/>
                </a:solidFill>
              </a:rPr>
              <a:t>Fundamentals workshop Agile@Arval</a:t>
            </a:r>
          </a:p>
        </p:txBody>
      </p:sp>
      <p:sp>
        <p:nvSpPr>
          <p:cNvPr id="14" name="Rectangle 1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227148" y="6395560"/>
            <a:ext cx="94474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pPr defTabSz="1211636">
              <a:defRPr/>
            </a:pPr>
            <a:r>
              <a:rPr lang="en-US">
                <a:solidFill>
                  <a:srgbClr val="000000"/>
                </a:solidFill>
              </a:rPr>
              <a:t>7 October 2022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17" name="Espace réservé du numéro de diapositive 1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59692" y="6395560"/>
            <a:ext cx="24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100" b="1">
                <a:solidFill>
                  <a:schemeClr val="tx1"/>
                </a:solidFill>
              </a:defRPr>
            </a:lvl1pPr>
          </a:lstStyle>
          <a:p>
            <a:pPr defTabSz="1211636">
              <a:defRPr/>
            </a:pPr>
            <a:fld id="{276219AF-F5ED-455B-A512-B03AB3602319}" type="slidenum">
              <a:rPr lang="en-GB" smtClean="0">
                <a:solidFill>
                  <a:srgbClr val="000000"/>
                </a:solidFill>
              </a:rPr>
              <a:pPr defTabSz="1211636">
                <a:defRPr/>
              </a:pPr>
              <a:t>‹N°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3" name="MSIPCMContentMarking" descr="{&quot;HashCode&quot;:1319653229,&quot;Placement&quot;:&quot;Footer&quot;,&quot;Top&quot;:519.343,&quot;Left&quot;:844.5204,&quot;SlideWidth&quot;:960,&quot;SlideHeight&quot;:540}"/>
          <p:cNvSpPr txBox="1"/>
          <p:nvPr userDrawn="1"/>
        </p:nvSpPr>
        <p:spPr>
          <a:xfrm>
            <a:off x="10725409" y="6595656"/>
            <a:ext cx="1466591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78D7"/>
                </a:solidFill>
                <a:latin typeface="Calibri" panose="020F0502020204030204" pitchFamily="34" charset="0"/>
              </a:rPr>
              <a:t>Classification : Internal</a:t>
            </a:r>
          </a:p>
        </p:txBody>
      </p:sp>
    </p:spTree>
    <p:extLst>
      <p:ext uri="{BB962C8B-B14F-4D97-AF65-F5344CB8AC3E}">
        <p14:creationId xmlns:p14="http://schemas.microsoft.com/office/powerpoint/2010/main" val="4761381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</p:sldLayoutIdLst>
  <p:hf hdr="0"/>
  <p:txStyles>
    <p:titleStyle>
      <a:lvl1pPr algn="l" defTabSz="1211636" rtl="0" eaLnBrk="1" latinLnBrk="0" hangingPunct="1">
        <a:spcBef>
          <a:spcPct val="0"/>
        </a:spcBef>
        <a:buNone/>
        <a:defRPr sz="2899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1211636" rtl="0" eaLnBrk="1" latinLnBrk="0" hangingPunct="1">
        <a:spcBef>
          <a:spcPts val="266"/>
        </a:spcBef>
        <a:buClr>
          <a:schemeClr val="accent4"/>
        </a:buClr>
        <a:buSzPct val="100000"/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096" indent="-237703" algn="l" defTabSz="1211636" rtl="0" eaLnBrk="1" latinLnBrk="0" hangingPunct="1">
        <a:spcBef>
          <a:spcPts val="266"/>
        </a:spcBef>
        <a:buClr>
          <a:schemeClr val="accent1"/>
        </a:buClr>
        <a:buSzPct val="90000"/>
        <a:buFont typeface="Wingdings" panose="05000000000000000000" pitchFamily="2" charset="2"/>
        <a:buChar char="§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66497" indent="-233494" algn="l" defTabSz="1211636" rtl="0" eaLnBrk="1" latinLnBrk="0" hangingPunct="1">
        <a:spcBef>
          <a:spcPts val="266"/>
        </a:spcBef>
        <a:buFont typeface="Wingdings" panose="05000000000000000000" pitchFamily="2" charset="2"/>
        <a:buChar char="§"/>
        <a:defRPr sz="19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535576" indent="-222970" algn="l" defTabSz="1211636" rtl="0" eaLnBrk="1" latinLnBrk="0" hangingPunct="1">
        <a:spcBef>
          <a:spcPts val="266"/>
        </a:spcBef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1211636" rtl="0" eaLnBrk="1" latinLnBrk="0" hangingPunct="1">
        <a:spcBef>
          <a:spcPts val="266"/>
        </a:spcBef>
        <a:buFontTx/>
        <a:buNone/>
        <a:defRPr sz="1300" kern="1200">
          <a:solidFill>
            <a:schemeClr val="tx2"/>
          </a:solidFill>
          <a:latin typeface="+mn-lt"/>
          <a:ea typeface="+mn-ea"/>
          <a:cs typeface="+mn-cs"/>
        </a:defRPr>
      </a:lvl5pPr>
      <a:lvl6pPr marL="3331997" indent="-302909" algn="l" defTabSz="1211636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37809" indent="-302909" algn="l" defTabSz="1211636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43628" indent="-302909" algn="l" defTabSz="1211636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49446" indent="-302909" algn="l" defTabSz="1211636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16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5818" algn="l" defTabSz="12116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1636" algn="l" defTabSz="12116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17454" algn="l" defTabSz="12116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23270" algn="l" defTabSz="12116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29089" algn="l" defTabSz="12116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34903" algn="l" defTabSz="12116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40722" algn="l" defTabSz="12116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46538" algn="l" defTabSz="12116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6772" y="99026"/>
            <a:ext cx="11280000" cy="745664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3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470085" y="6395560"/>
            <a:ext cx="2688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pPr defTabSz="1211636"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4" name="Rectangle 1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227148" y="6395560"/>
            <a:ext cx="94474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pPr defTabSz="1211636">
              <a:defRPr/>
            </a:pPr>
            <a:fld id="{E4B51AC9-4650-4AD2-A5E8-FC96EE070361}" type="datetime3">
              <a:rPr lang="en-US" smtClean="0">
                <a:solidFill>
                  <a:srgbClr val="000000"/>
                </a:solidFill>
              </a:rPr>
              <a:pPr defTabSz="1211636">
                <a:defRPr/>
              </a:pPr>
              <a:t>27 March 2025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17" name="Espace réservé du numéro de diapositive 1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59692" y="6395560"/>
            <a:ext cx="24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100" b="1">
                <a:solidFill>
                  <a:schemeClr val="tx1"/>
                </a:solidFill>
              </a:defRPr>
            </a:lvl1pPr>
          </a:lstStyle>
          <a:p>
            <a:pPr defTabSz="1211636">
              <a:defRPr/>
            </a:pPr>
            <a:fld id="{276219AF-F5ED-455B-A512-B03AB3602319}" type="slidenum">
              <a:rPr lang="en-GB" smtClean="0">
                <a:solidFill>
                  <a:srgbClr val="000000"/>
                </a:solidFill>
              </a:rPr>
              <a:pPr defTabSz="1211636">
                <a:defRPr/>
              </a:pPr>
              <a:t>‹N°›</a:t>
            </a:fld>
            <a:endParaRPr lang="en-GB">
              <a:solidFill>
                <a:srgbClr val="000000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4226" y="185504"/>
            <a:ext cx="1655323" cy="572705"/>
          </a:xfrm>
          <a:prstGeom prst="rect">
            <a:avLst/>
          </a:prstGeom>
        </p:spPr>
      </p:pic>
      <p:sp>
        <p:nvSpPr>
          <p:cNvPr id="3" name="MSIPCMContentMarking" descr="{&quot;HashCode&quot;:1319653229,&quot;Placement&quot;:&quot;Footer&quot;,&quot;Top&quot;:519.467957,&quot;Left&quot;:839.0204,&quot;SlideWidth&quot;:954,&quot;SlideHeight&quot;:540}"/>
          <p:cNvSpPr txBox="1"/>
          <p:nvPr userDrawn="1"/>
        </p:nvSpPr>
        <p:spPr>
          <a:xfrm>
            <a:off x="10716959" y="6595716"/>
            <a:ext cx="1475042" cy="26228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78D7"/>
                </a:solidFill>
                <a:latin typeface="Calibri" panose="020F0502020204030204" pitchFamily="34" charset="0"/>
              </a:rPr>
              <a:t>Classification : Internal</a:t>
            </a:r>
          </a:p>
        </p:txBody>
      </p:sp>
    </p:spTree>
    <p:extLst>
      <p:ext uri="{BB962C8B-B14F-4D97-AF65-F5344CB8AC3E}">
        <p14:creationId xmlns:p14="http://schemas.microsoft.com/office/powerpoint/2010/main" val="2651998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</p:sldLayoutIdLst>
  <p:hf hdr="0" ftr="0"/>
  <p:txStyles>
    <p:titleStyle>
      <a:lvl1pPr algn="l" defTabSz="1211878" rtl="0" eaLnBrk="1" latinLnBrk="0" hangingPunct="1">
        <a:spcBef>
          <a:spcPct val="0"/>
        </a:spcBef>
        <a:buNone/>
        <a:defRPr sz="29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1211878" rtl="0" eaLnBrk="1" latinLnBrk="0" hangingPunct="1">
        <a:spcBef>
          <a:spcPts val="266"/>
        </a:spcBef>
        <a:buClr>
          <a:schemeClr val="accent4"/>
        </a:buClr>
        <a:buSzPct val="100000"/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214" indent="-237751" algn="l" defTabSz="1211878" rtl="0" eaLnBrk="1" latinLnBrk="0" hangingPunct="1">
        <a:spcBef>
          <a:spcPts val="266"/>
        </a:spcBef>
        <a:buClr>
          <a:schemeClr val="accent1"/>
        </a:buClr>
        <a:buSzPct val="90000"/>
        <a:buFont typeface="Wingdings" panose="05000000000000000000" pitchFamily="2" charset="2"/>
        <a:buChar char="§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66710" indent="-233541" algn="l" defTabSz="1211878" rtl="0" eaLnBrk="1" latinLnBrk="0" hangingPunct="1">
        <a:spcBef>
          <a:spcPts val="266"/>
        </a:spcBef>
        <a:buFont typeface="Wingdings" panose="05000000000000000000" pitchFamily="2" charset="2"/>
        <a:buChar char="§"/>
        <a:defRPr sz="19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535883" indent="-223015" algn="l" defTabSz="1211878" rtl="0" eaLnBrk="1" latinLnBrk="0" hangingPunct="1">
        <a:spcBef>
          <a:spcPts val="266"/>
        </a:spcBef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1211878" rtl="0" eaLnBrk="1" latinLnBrk="0" hangingPunct="1">
        <a:spcBef>
          <a:spcPts val="266"/>
        </a:spcBef>
        <a:buFontTx/>
        <a:buNone/>
        <a:defRPr sz="1300" kern="1200">
          <a:solidFill>
            <a:schemeClr val="tx2"/>
          </a:solidFill>
          <a:latin typeface="+mn-lt"/>
          <a:ea typeface="+mn-ea"/>
          <a:cs typeface="+mn-cs"/>
        </a:defRPr>
      </a:lvl5pPr>
      <a:lvl6pPr marL="3332664" indent="-302970" algn="l" defTabSz="1211878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38597" indent="-302970" algn="l" defTabSz="1211878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44537" indent="-302970" algn="l" defTabSz="1211878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50476" indent="-302970" algn="l" defTabSz="1211878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18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5939" algn="l" defTabSz="12118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1878" algn="l" defTabSz="12118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17818" algn="l" defTabSz="12118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23755" algn="l" defTabSz="12118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29695" algn="l" defTabSz="12118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35630" algn="l" defTabSz="12118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41570" algn="l" defTabSz="12118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47508" algn="l" defTabSz="12118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6772" y="99026"/>
            <a:ext cx="11280000" cy="745664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3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470085" y="6395560"/>
            <a:ext cx="2688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pPr defTabSz="1211636"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4" name="Rectangle 1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227148" y="6395560"/>
            <a:ext cx="94474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pPr defTabSz="1211636"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7" name="Espace réservé du numéro de diapositive 1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59692" y="6395560"/>
            <a:ext cx="24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100" b="1">
                <a:solidFill>
                  <a:schemeClr val="tx1"/>
                </a:solidFill>
              </a:defRPr>
            </a:lvl1pPr>
          </a:lstStyle>
          <a:p>
            <a:pPr defTabSz="1211636">
              <a:defRPr/>
            </a:pPr>
            <a:fld id="{276219AF-F5ED-455B-A512-B03AB3602319}" type="slidenum">
              <a:rPr lang="en-GB" smtClean="0">
                <a:solidFill>
                  <a:srgbClr val="000000"/>
                </a:solidFill>
              </a:rPr>
              <a:pPr defTabSz="1211636">
                <a:defRPr/>
              </a:pPr>
              <a:t>‹N°›</a:t>
            </a:fld>
            <a:endParaRPr lang="en-GB">
              <a:solidFill>
                <a:srgbClr val="000000"/>
              </a:solidFill>
            </a:endParaRP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3973" y="117399"/>
            <a:ext cx="1655323" cy="572705"/>
          </a:xfrm>
          <a:prstGeom prst="rect">
            <a:avLst/>
          </a:prstGeom>
        </p:spPr>
      </p:pic>
      <p:sp>
        <p:nvSpPr>
          <p:cNvPr id="3" name="MSIPCMContentMarking" descr="{&quot;HashCode&quot;:1878641529,&quot;Placement&quot;:&quot;Footer&quot;,&quot;Top&quot;:519.343,&quot;Left&quot;:844.5204,&quot;SlideWidth&quot;:960,&quot;SlideHeight&quot;:540}"/>
          <p:cNvSpPr txBox="1"/>
          <p:nvPr userDrawn="1"/>
        </p:nvSpPr>
        <p:spPr>
          <a:xfrm>
            <a:off x="10725409" y="6595656"/>
            <a:ext cx="1466591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78D7"/>
                </a:solidFill>
                <a:latin typeface="Calibri" panose="020F0502020204030204" pitchFamily="34" charset="0"/>
              </a:rPr>
              <a:t>Classification : Internal</a:t>
            </a:r>
          </a:p>
        </p:txBody>
      </p:sp>
    </p:spTree>
    <p:extLst>
      <p:ext uri="{BB962C8B-B14F-4D97-AF65-F5344CB8AC3E}">
        <p14:creationId xmlns:p14="http://schemas.microsoft.com/office/powerpoint/2010/main" val="2069449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6" r:id="rId2"/>
  </p:sldLayoutIdLst>
  <p:hf hdr="0" ftr="0" dt="0"/>
  <p:txStyles>
    <p:titleStyle>
      <a:lvl1pPr algn="l" defTabSz="1211636" rtl="0" eaLnBrk="1" latinLnBrk="0" hangingPunct="1">
        <a:spcBef>
          <a:spcPct val="0"/>
        </a:spcBef>
        <a:buNone/>
        <a:defRPr sz="2899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1211636" rtl="0" eaLnBrk="1" latinLnBrk="0" hangingPunct="1">
        <a:spcBef>
          <a:spcPts val="266"/>
        </a:spcBef>
        <a:buClr>
          <a:schemeClr val="accent4"/>
        </a:buClr>
        <a:buSzPct val="100000"/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096" indent="-237703" algn="l" defTabSz="1211636" rtl="0" eaLnBrk="1" latinLnBrk="0" hangingPunct="1">
        <a:spcBef>
          <a:spcPts val="266"/>
        </a:spcBef>
        <a:buClr>
          <a:schemeClr val="accent1"/>
        </a:buClr>
        <a:buSzPct val="90000"/>
        <a:buFont typeface="Wingdings" panose="05000000000000000000" pitchFamily="2" charset="2"/>
        <a:buChar char="§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66497" indent="-233494" algn="l" defTabSz="1211636" rtl="0" eaLnBrk="1" latinLnBrk="0" hangingPunct="1">
        <a:spcBef>
          <a:spcPts val="266"/>
        </a:spcBef>
        <a:buFont typeface="Wingdings" panose="05000000000000000000" pitchFamily="2" charset="2"/>
        <a:buChar char="§"/>
        <a:defRPr sz="19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535576" indent="-222970" algn="l" defTabSz="1211636" rtl="0" eaLnBrk="1" latinLnBrk="0" hangingPunct="1">
        <a:spcBef>
          <a:spcPts val="266"/>
        </a:spcBef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1211636" rtl="0" eaLnBrk="1" latinLnBrk="0" hangingPunct="1">
        <a:spcBef>
          <a:spcPts val="266"/>
        </a:spcBef>
        <a:buFontTx/>
        <a:buNone/>
        <a:defRPr sz="1300" kern="1200">
          <a:solidFill>
            <a:schemeClr val="tx2"/>
          </a:solidFill>
          <a:latin typeface="+mn-lt"/>
          <a:ea typeface="+mn-ea"/>
          <a:cs typeface="+mn-cs"/>
        </a:defRPr>
      </a:lvl5pPr>
      <a:lvl6pPr marL="3331997" indent="-302909" algn="l" defTabSz="1211636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37809" indent="-302909" algn="l" defTabSz="1211636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43628" indent="-302909" algn="l" defTabSz="1211636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49446" indent="-302909" algn="l" defTabSz="1211636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16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5818" algn="l" defTabSz="12116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1636" algn="l" defTabSz="12116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17454" algn="l" defTabSz="12116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23270" algn="l" defTabSz="12116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29089" algn="l" defTabSz="12116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34903" algn="l" defTabSz="12116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40722" algn="l" defTabSz="12116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46538" algn="l" defTabSz="12116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6772" y="99026"/>
            <a:ext cx="11280000" cy="745664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fr-FR" noProof="0"/>
              <a:t>Modifiez le style du titre</a:t>
            </a:r>
            <a:endParaRPr lang="en-GB" noProof="0"/>
          </a:p>
        </p:txBody>
      </p:sp>
      <p:sp>
        <p:nvSpPr>
          <p:cNvPr id="17" name="Espace réservé du numéro de diapositive 1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59692" y="6395560"/>
            <a:ext cx="240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100" b="1">
                <a:solidFill>
                  <a:schemeClr val="tx1"/>
                </a:solidFill>
              </a:defRPr>
            </a:lvl1pPr>
          </a:lstStyle>
          <a:p>
            <a:fld id="{8C71CAF9-4461-454A-B702-D536C3775752}" type="slidenum">
              <a:rPr lang="en-US" smtClean="0"/>
              <a:t>‹N°›</a:t>
            </a:fld>
            <a:endParaRPr lang="en-US"/>
          </a:p>
        </p:txBody>
      </p:sp>
      <p:sp>
        <p:nvSpPr>
          <p:cNvPr id="3" name="MSIPCMContentMarking" descr="{&quot;HashCode&quot;:1878641529,&quot;Placement&quot;:&quot;Footer&quot;,&quot;Top&quot;:519.343,&quot;Left&quot;:844.5204,&quot;SlideWidth&quot;:960,&quot;SlideHeight&quot;:540}"/>
          <p:cNvSpPr txBox="1"/>
          <p:nvPr userDrawn="1"/>
        </p:nvSpPr>
        <p:spPr>
          <a:xfrm>
            <a:off x="10725409" y="6595656"/>
            <a:ext cx="1466591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78D7"/>
                </a:solidFill>
                <a:latin typeface="Calibri" panose="020F0502020204030204" pitchFamily="34" charset="0"/>
              </a:rPr>
              <a:t>Classification : Internal</a:t>
            </a:r>
          </a:p>
        </p:txBody>
      </p:sp>
    </p:spTree>
    <p:extLst>
      <p:ext uri="{BB962C8B-B14F-4D97-AF65-F5344CB8AC3E}">
        <p14:creationId xmlns:p14="http://schemas.microsoft.com/office/powerpoint/2010/main" val="281265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839" r:id="rId14"/>
    <p:sldLayoutId id="2147483690" r:id="rId15"/>
    <p:sldLayoutId id="2147483691" r:id="rId16"/>
    <p:sldLayoutId id="2147483857" r:id="rId17"/>
    <p:sldLayoutId id="2147483858" r:id="rId18"/>
    <p:sldLayoutId id="2147483859" r:id="rId19"/>
  </p:sldLayoutIdLst>
  <p:hf hdr="0" ftr="0" dt="0"/>
  <p:txStyles>
    <p:titleStyle>
      <a:lvl1pPr algn="l" defTabSz="1211636" rtl="0" eaLnBrk="1" latinLnBrk="0" hangingPunct="1">
        <a:spcBef>
          <a:spcPct val="0"/>
        </a:spcBef>
        <a:buNone/>
        <a:defRPr sz="2899" b="1" kern="1200" cap="all" baseline="0">
          <a:solidFill>
            <a:schemeClr val="tx2"/>
          </a:solidFill>
          <a:latin typeface="BNPP Sans" panose="02000000000000000000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1211636" rtl="0" eaLnBrk="1" latinLnBrk="0" hangingPunct="1">
        <a:spcBef>
          <a:spcPts val="266"/>
        </a:spcBef>
        <a:buClr>
          <a:schemeClr val="accent4"/>
        </a:buClr>
        <a:buSzPct val="100000"/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1096" indent="-237703" algn="l" defTabSz="1211636" rtl="0" eaLnBrk="1" latinLnBrk="0" hangingPunct="1">
        <a:spcBef>
          <a:spcPts val="266"/>
        </a:spcBef>
        <a:buClr>
          <a:schemeClr val="accent1"/>
        </a:buClr>
        <a:buSzPct val="90000"/>
        <a:buFont typeface="Wingdings" panose="05000000000000000000" pitchFamily="2" charset="2"/>
        <a:buChar char="§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66497" indent="-233494" algn="l" defTabSz="1211636" rtl="0" eaLnBrk="1" latinLnBrk="0" hangingPunct="1">
        <a:spcBef>
          <a:spcPts val="266"/>
        </a:spcBef>
        <a:buFont typeface="Wingdings" panose="05000000000000000000" pitchFamily="2" charset="2"/>
        <a:buChar char="§"/>
        <a:defRPr sz="19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535576" indent="-222970" algn="l" defTabSz="1211636" rtl="0" eaLnBrk="1" latinLnBrk="0" hangingPunct="1">
        <a:spcBef>
          <a:spcPts val="266"/>
        </a:spcBef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1211636" rtl="0" eaLnBrk="1" latinLnBrk="0" hangingPunct="1">
        <a:spcBef>
          <a:spcPts val="266"/>
        </a:spcBef>
        <a:buFontTx/>
        <a:buNone/>
        <a:defRPr sz="1300" kern="1200">
          <a:solidFill>
            <a:schemeClr val="tx2"/>
          </a:solidFill>
          <a:latin typeface="+mn-lt"/>
          <a:ea typeface="+mn-ea"/>
          <a:cs typeface="+mn-cs"/>
        </a:defRPr>
      </a:lvl5pPr>
      <a:lvl6pPr marL="3331997" indent="-302909" algn="l" defTabSz="1211636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37809" indent="-302909" algn="l" defTabSz="1211636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43628" indent="-302909" algn="l" defTabSz="1211636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49446" indent="-302909" algn="l" defTabSz="1211636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16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5818" algn="l" defTabSz="12116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1636" algn="l" defTabSz="12116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17454" algn="l" defTabSz="12116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23270" algn="l" defTabSz="12116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29089" algn="l" defTabSz="12116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34903" algn="l" defTabSz="12116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40722" algn="l" defTabSz="12116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46538" algn="l" defTabSz="12116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hyperlink" Target="https://tagmanager.google.com/#/home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us-titre 1">
            <a:extLst>
              <a:ext uri="{FF2B5EF4-FFF2-40B4-BE49-F238E27FC236}">
                <a16:creationId xmlns:a16="http://schemas.microsoft.com/office/drawing/2014/main" id="{C675423E-1D99-C313-0040-0451466E36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11129" y="3915442"/>
            <a:ext cx="3177152" cy="292388"/>
          </a:xfrm>
        </p:spPr>
        <p:txBody>
          <a:bodyPr/>
          <a:lstStyle/>
          <a:p>
            <a:r>
              <a:rPr lang="en-GB" dirty="0"/>
              <a:t>Incident on websit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B0D9E679-C93E-70EA-C5BE-9D52FB37EC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1129" y="2453939"/>
            <a:ext cx="7352071" cy="1536318"/>
          </a:xfrm>
        </p:spPr>
        <p:txBody>
          <a:bodyPr/>
          <a:lstStyle/>
          <a:p>
            <a:r>
              <a:rPr lang="en-GB" dirty="0"/>
              <a:t>How to implement a banner via </a:t>
            </a:r>
            <a:r>
              <a:rPr lang="en-GB" dirty="0" err="1"/>
              <a:t>gtm</a:t>
            </a:r>
            <a:endParaRPr lang="en-GB" sz="4400" b="0" i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98312593"/>
      </p:ext>
    </p:extLst>
  </p:cSld>
  <p:clrMapOvr>
    <a:masterClrMapping/>
  </p:clrMapOvr>
  <p:transition spd="slow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23A60F-E7BB-A1DF-04AF-04E98EB79D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5411A585-BB3D-07F1-B1B0-2DE3680F2298}"/>
              </a:ext>
            </a:extLst>
          </p:cNvPr>
          <p:cNvSpPr txBox="1">
            <a:spLocks/>
          </p:cNvSpPr>
          <p:nvPr/>
        </p:nvSpPr>
        <p:spPr>
          <a:xfrm>
            <a:off x="719138" y="468000"/>
            <a:ext cx="10753725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 cap="all" baseline="0">
                <a:solidFill>
                  <a:schemeClr val="accent1"/>
                </a:solidFill>
                <a:latin typeface="BNPP Sans Condensed" panose="02000000000000000000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public websites | incident management</a:t>
            </a:r>
          </a:p>
          <a:p>
            <a:endParaRPr lang="en-GB" dirty="0"/>
          </a:p>
        </p:txBody>
      </p:sp>
      <p:sp>
        <p:nvSpPr>
          <p:cNvPr id="28" name="Rectangle: Rounded Corners 18">
            <a:extLst>
              <a:ext uri="{FF2B5EF4-FFF2-40B4-BE49-F238E27FC236}">
                <a16:creationId xmlns:a16="http://schemas.microsoft.com/office/drawing/2014/main" id="{7722323C-95FF-6D3F-D8DE-79AC720FEA8C}"/>
              </a:ext>
            </a:extLst>
          </p:cNvPr>
          <p:cNvSpPr/>
          <p:nvPr/>
        </p:nvSpPr>
        <p:spPr>
          <a:xfrm>
            <a:off x="796998" y="1595428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2"/>
                </a:solidFill>
                <a:latin typeface="+mj-lt"/>
              </a:rPr>
              <a:t>Connect to GTM</a:t>
            </a:r>
          </a:p>
        </p:txBody>
      </p:sp>
      <p:sp>
        <p:nvSpPr>
          <p:cNvPr id="31" name="Rectangle: Rounded Corners 18">
            <a:extLst>
              <a:ext uri="{FF2B5EF4-FFF2-40B4-BE49-F238E27FC236}">
                <a16:creationId xmlns:a16="http://schemas.microsoft.com/office/drawing/2014/main" id="{5FFBFA7F-B6B3-5295-5CB7-37D00ECCCF11}"/>
              </a:ext>
            </a:extLst>
          </p:cNvPr>
          <p:cNvSpPr/>
          <p:nvPr/>
        </p:nvSpPr>
        <p:spPr>
          <a:xfrm>
            <a:off x="806788" y="2330631"/>
            <a:ext cx="1197545" cy="731428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defRPr/>
            </a:pPr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Create a new tag and set its triggering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BEA727C-83A7-B999-B621-320816553007}"/>
              </a:ext>
            </a:extLst>
          </p:cNvPr>
          <p:cNvSpPr/>
          <p:nvPr/>
        </p:nvSpPr>
        <p:spPr>
          <a:xfrm>
            <a:off x="306361" y="5421301"/>
            <a:ext cx="1975007" cy="636728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100">
              <a:solidFill>
                <a:schemeClr val="tx1"/>
              </a:solidFill>
            </a:endParaRP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4D332CAF-4C89-2F61-8A8C-B06BFE5F7E3D}"/>
              </a:ext>
            </a:extLst>
          </p:cNvPr>
          <p:cNvSpPr txBox="1"/>
          <p:nvPr/>
        </p:nvSpPr>
        <p:spPr>
          <a:xfrm>
            <a:off x="296571" y="1593446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1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7AF4C0A8-511A-9618-88A6-A9D48C844A2D}"/>
              </a:ext>
            </a:extLst>
          </p:cNvPr>
          <p:cNvSpPr txBox="1"/>
          <p:nvPr/>
        </p:nvSpPr>
        <p:spPr>
          <a:xfrm>
            <a:off x="301073" y="2303819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00" b="1" dirty="0">
                <a:solidFill>
                  <a:schemeClr val="bg1">
                    <a:lumMod val="75000"/>
                  </a:schemeClr>
                </a:solidFill>
              </a:rPr>
              <a:t>2</a:t>
            </a:r>
          </a:p>
        </p:txBody>
      </p:sp>
      <p:sp>
        <p:nvSpPr>
          <p:cNvPr id="10" name="Rectangle: Rounded Corners 18">
            <a:extLst>
              <a:ext uri="{FF2B5EF4-FFF2-40B4-BE49-F238E27FC236}">
                <a16:creationId xmlns:a16="http://schemas.microsoft.com/office/drawing/2014/main" id="{2C7FF993-05FA-095A-0C3F-92D476F80747}"/>
              </a:ext>
            </a:extLst>
          </p:cNvPr>
          <p:cNvSpPr/>
          <p:nvPr/>
        </p:nvSpPr>
        <p:spPr>
          <a:xfrm>
            <a:off x="796998" y="3221001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Configure your tag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E51BA30B-2742-0593-8643-7F58AD18ECE2}"/>
              </a:ext>
            </a:extLst>
          </p:cNvPr>
          <p:cNvSpPr txBox="1"/>
          <p:nvPr/>
        </p:nvSpPr>
        <p:spPr>
          <a:xfrm>
            <a:off x="296571" y="3219019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3</a:t>
            </a:r>
          </a:p>
        </p:txBody>
      </p:sp>
      <p:sp>
        <p:nvSpPr>
          <p:cNvPr id="3" name="Rectangle: Rounded Corners 18">
            <a:extLst>
              <a:ext uri="{FF2B5EF4-FFF2-40B4-BE49-F238E27FC236}">
                <a16:creationId xmlns:a16="http://schemas.microsoft.com/office/drawing/2014/main" id="{906C221E-3D93-F8AA-3CD2-EEB8B8055AE1}"/>
              </a:ext>
            </a:extLst>
          </p:cNvPr>
          <p:cNvSpPr/>
          <p:nvPr/>
        </p:nvSpPr>
        <p:spPr>
          <a:xfrm>
            <a:off x="796998" y="3977026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Preview and test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262B0E66-9033-09EA-122D-91B8411C53D7}"/>
              </a:ext>
            </a:extLst>
          </p:cNvPr>
          <p:cNvSpPr txBox="1"/>
          <p:nvPr/>
        </p:nvSpPr>
        <p:spPr>
          <a:xfrm>
            <a:off x="296571" y="3975044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4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EAAA0947-B237-B6BD-8B84-91BA0FF43FD2}"/>
              </a:ext>
            </a:extLst>
          </p:cNvPr>
          <p:cNvSpPr txBox="1"/>
          <p:nvPr/>
        </p:nvSpPr>
        <p:spPr>
          <a:xfrm>
            <a:off x="2596777" y="932592"/>
            <a:ext cx="9704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Incident </a:t>
            </a:r>
            <a:r>
              <a:rPr lang="fr-FR" dirty="0" err="1"/>
              <a:t>is</a:t>
            </a:r>
            <a:r>
              <a:rPr lang="fr-FR" dirty="0"/>
              <a:t> over? Pause the trigger</a:t>
            </a:r>
          </a:p>
        </p:txBody>
      </p:sp>
      <p:sp>
        <p:nvSpPr>
          <p:cNvPr id="2" name="Rectangle: Rounded Corners 18">
            <a:extLst>
              <a:ext uri="{FF2B5EF4-FFF2-40B4-BE49-F238E27FC236}">
                <a16:creationId xmlns:a16="http://schemas.microsoft.com/office/drawing/2014/main" id="{7D48B8D6-8C98-1F2D-F8C2-B68AE2A1194B}"/>
              </a:ext>
            </a:extLst>
          </p:cNvPr>
          <p:cNvSpPr/>
          <p:nvPr/>
        </p:nvSpPr>
        <p:spPr>
          <a:xfrm>
            <a:off x="796998" y="4705289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Finalize 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E0770F5A-A1FC-7F14-DB5B-B6A0FCD029D8}"/>
              </a:ext>
            </a:extLst>
          </p:cNvPr>
          <p:cNvSpPr txBox="1"/>
          <p:nvPr/>
        </p:nvSpPr>
        <p:spPr>
          <a:xfrm>
            <a:off x="296571" y="4703307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5</a:t>
            </a:r>
          </a:p>
        </p:txBody>
      </p:sp>
      <p:sp>
        <p:nvSpPr>
          <p:cNvPr id="6" name="Rectangle: Rounded Corners 18">
            <a:extLst>
              <a:ext uri="{FF2B5EF4-FFF2-40B4-BE49-F238E27FC236}">
                <a16:creationId xmlns:a16="http://schemas.microsoft.com/office/drawing/2014/main" id="{B8CD150D-2CA1-32C6-67C6-73C7704A97D2}"/>
              </a:ext>
            </a:extLst>
          </p:cNvPr>
          <p:cNvSpPr/>
          <p:nvPr/>
        </p:nvSpPr>
        <p:spPr>
          <a:xfrm>
            <a:off x="806788" y="5450108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tx1"/>
                </a:solidFill>
                <a:latin typeface="+mj-lt"/>
              </a:rPr>
              <a:t>Until next time 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030343AD-944D-7C7C-E263-E03556142958}"/>
              </a:ext>
            </a:extLst>
          </p:cNvPr>
          <p:cNvSpPr txBox="1"/>
          <p:nvPr/>
        </p:nvSpPr>
        <p:spPr>
          <a:xfrm>
            <a:off x="306361" y="5448126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>
                <a:solidFill>
                  <a:schemeClr val="tx1"/>
                </a:solidFill>
              </a:rPr>
              <a:t>6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B913E2B6-1E37-39D2-39F0-4A5037CD2E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96777" y="1314490"/>
            <a:ext cx="9235418" cy="1144934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7B77198A-DF57-9875-090E-CBCF31E816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5557" y="3024804"/>
            <a:ext cx="7633562" cy="1797320"/>
          </a:xfrm>
          <a:prstGeom prst="rect">
            <a:avLst/>
          </a:prstGeom>
        </p:spPr>
      </p:pic>
      <p:sp>
        <p:nvSpPr>
          <p:cNvPr id="18" name="ZoneTexte 17">
            <a:extLst>
              <a:ext uri="{FF2B5EF4-FFF2-40B4-BE49-F238E27FC236}">
                <a16:creationId xmlns:a16="http://schemas.microsoft.com/office/drawing/2014/main" id="{7E3EB9C0-A64D-3C20-5A6A-4F5529309EA3}"/>
              </a:ext>
            </a:extLst>
          </p:cNvPr>
          <p:cNvSpPr txBox="1"/>
          <p:nvPr/>
        </p:nvSpPr>
        <p:spPr>
          <a:xfrm>
            <a:off x="2600059" y="2655472"/>
            <a:ext cx="9704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err="1"/>
              <a:t>Publish</a:t>
            </a:r>
            <a:r>
              <a:rPr lang="fr-FR" dirty="0"/>
              <a:t> to </a:t>
            </a:r>
            <a:r>
              <a:rPr lang="fr-FR" dirty="0" err="1"/>
              <a:t>see</a:t>
            </a:r>
            <a:r>
              <a:rPr lang="fr-FR" dirty="0"/>
              <a:t> </a:t>
            </a:r>
            <a:r>
              <a:rPr lang="fr-FR" dirty="0" err="1"/>
              <a:t>it</a:t>
            </a:r>
            <a:r>
              <a:rPr lang="fr-FR" dirty="0"/>
              <a:t> in production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594D2DFD-AEA7-08B8-393C-2FA17BB9F2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544300" y="1745625"/>
            <a:ext cx="651149" cy="1001769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1FFE55AA-57F5-BDAE-68AB-D7D31095014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95557" y="4966055"/>
            <a:ext cx="8538175" cy="1327511"/>
          </a:xfrm>
          <a:prstGeom prst="rect">
            <a:avLst/>
          </a:prstGeom>
        </p:spPr>
      </p:pic>
      <p:sp>
        <p:nvSpPr>
          <p:cNvPr id="25" name="Flèche : courbe vers la gauche 24">
            <a:extLst>
              <a:ext uri="{FF2B5EF4-FFF2-40B4-BE49-F238E27FC236}">
                <a16:creationId xmlns:a16="http://schemas.microsoft.com/office/drawing/2014/main" id="{84A2513A-D842-C4E4-E325-D457223BBDB8}"/>
              </a:ext>
            </a:extLst>
          </p:cNvPr>
          <p:cNvSpPr/>
          <p:nvPr/>
        </p:nvSpPr>
        <p:spPr>
          <a:xfrm>
            <a:off x="10229119" y="4541294"/>
            <a:ext cx="726685" cy="939863"/>
          </a:xfrm>
          <a:prstGeom prst="curvedLeftArrow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5314325"/>
      </p:ext>
    </p:extLst>
  </p:cSld>
  <p:clrMapOvr>
    <a:masterClrMapping/>
  </p:clrMapOvr>
  <p:transition spd="slow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405E6CBC-59EC-7B4D-C489-5606751B1D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843302765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83B24C8F-CFAB-9861-36D1-104E57F238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9138" y="468000"/>
            <a:ext cx="10753725" cy="615553"/>
          </a:xfrm>
        </p:spPr>
        <p:txBody>
          <a:bodyPr/>
          <a:lstStyle/>
          <a:p>
            <a:r>
              <a:rPr lang="en-US" dirty="0"/>
              <a:t>public websites | incident management</a:t>
            </a:r>
          </a:p>
          <a:p>
            <a:endParaRPr lang="en-GB" dirty="0"/>
          </a:p>
        </p:txBody>
      </p:sp>
      <p:sp>
        <p:nvSpPr>
          <p:cNvPr id="51" name="Rectangle: Rounded Corners 18">
            <a:extLst>
              <a:ext uri="{FF2B5EF4-FFF2-40B4-BE49-F238E27FC236}">
                <a16:creationId xmlns:a16="http://schemas.microsoft.com/office/drawing/2014/main" id="{D6BE0B09-496D-E67A-2761-B5125A1026FB}"/>
              </a:ext>
            </a:extLst>
          </p:cNvPr>
          <p:cNvSpPr/>
          <p:nvPr/>
        </p:nvSpPr>
        <p:spPr>
          <a:xfrm>
            <a:off x="796998" y="1595428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defRPr/>
            </a:pPr>
            <a:r>
              <a:rPr lang="en-US" sz="1400" b="1" dirty="0">
                <a:solidFill>
                  <a:schemeClr val="tx1"/>
                </a:solidFill>
                <a:latin typeface="+mj-lt"/>
              </a:rPr>
              <a:t>Connect to GTM</a:t>
            </a:r>
          </a:p>
        </p:txBody>
      </p:sp>
      <p:sp>
        <p:nvSpPr>
          <p:cNvPr id="54" name="Rectangle: Rounded Corners 18">
            <a:extLst>
              <a:ext uri="{FF2B5EF4-FFF2-40B4-BE49-F238E27FC236}">
                <a16:creationId xmlns:a16="http://schemas.microsoft.com/office/drawing/2014/main" id="{85462547-99AC-DF32-D3C9-87A8EA3D2EC9}"/>
              </a:ext>
            </a:extLst>
          </p:cNvPr>
          <p:cNvSpPr/>
          <p:nvPr/>
        </p:nvSpPr>
        <p:spPr>
          <a:xfrm>
            <a:off x="806788" y="2330631"/>
            <a:ext cx="119754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defRPr/>
            </a:pPr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Create a new tag and set its triggering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06301E4-DFD3-3327-0475-1A9B1432061F}"/>
              </a:ext>
            </a:extLst>
          </p:cNvPr>
          <p:cNvSpPr/>
          <p:nvPr/>
        </p:nvSpPr>
        <p:spPr>
          <a:xfrm>
            <a:off x="178896" y="1558910"/>
            <a:ext cx="1975007" cy="647148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100">
              <a:solidFill>
                <a:schemeClr val="tx1"/>
              </a:solidFill>
            </a:endParaRPr>
          </a:p>
        </p:txBody>
      </p:sp>
      <p:grpSp>
        <p:nvGrpSpPr>
          <p:cNvPr id="95" name="Group 44">
            <a:extLst>
              <a:ext uri="{FF2B5EF4-FFF2-40B4-BE49-F238E27FC236}">
                <a16:creationId xmlns:a16="http://schemas.microsoft.com/office/drawing/2014/main" id="{39946F6C-CD67-DA97-E511-77A0EC9A9944}"/>
              </a:ext>
            </a:extLst>
          </p:cNvPr>
          <p:cNvGrpSpPr/>
          <p:nvPr/>
        </p:nvGrpSpPr>
        <p:grpSpPr>
          <a:xfrm>
            <a:off x="10583924" y="6482505"/>
            <a:ext cx="2150333" cy="169853"/>
            <a:chOff x="8658915" y="2277666"/>
            <a:chExt cx="2279310" cy="180042"/>
          </a:xfrm>
        </p:grpSpPr>
        <p:sp>
          <p:nvSpPr>
            <p:cNvPr id="96" name="Date Placeholder 3">
              <a:extLst>
                <a:ext uri="{FF2B5EF4-FFF2-40B4-BE49-F238E27FC236}">
                  <a16:creationId xmlns:a16="http://schemas.microsoft.com/office/drawing/2014/main" id="{415A0087-F444-D7D1-C81C-159F9AEC06EF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8658915" y="2277666"/>
              <a:ext cx="1885063" cy="1800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r" defTabSz="121944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722" algn="l" defTabSz="1219444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444" algn="l" defTabSz="1219444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9166" algn="l" defTabSz="1219444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888" algn="l" defTabSz="1219444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8610" algn="l" defTabSz="1219444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8332" algn="l" defTabSz="1219444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8053" algn="l" defTabSz="1219444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7775" algn="l" defTabSz="1219444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2125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97" b="0" i="0" u="none" strike="noStrike" kern="1200" cap="none" spc="299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BNPP Sans Light" pitchFamily="50" charset="0"/>
                <a:ea typeface="+mn-ea"/>
                <a:cs typeface="+mn-cs"/>
              </a:endParaRPr>
            </a:p>
          </p:txBody>
        </p:sp>
        <p:sp>
          <p:nvSpPr>
            <p:cNvPr id="97" name="Slide Number Placeholder 4">
              <a:extLst>
                <a:ext uri="{FF2B5EF4-FFF2-40B4-BE49-F238E27FC236}">
                  <a16:creationId xmlns:a16="http://schemas.microsoft.com/office/drawing/2014/main" id="{4484FBD8-7312-21D8-1BED-82771297D686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698162" y="2277666"/>
              <a:ext cx="240063" cy="1800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r" defTabSz="1219444" rtl="0" eaLnBrk="1" latinLnBrk="0" hangingPunct="1">
                <a:defRPr sz="11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722" algn="l" defTabSz="1219444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444" algn="l" defTabSz="1219444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9166" algn="l" defTabSz="1219444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888" algn="l" defTabSz="1219444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8610" algn="l" defTabSz="1219444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8332" algn="l" defTabSz="1219444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8053" algn="l" defTabSz="1219444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7775" algn="l" defTabSz="1219444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25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276219AF-F5ED-455B-A512-B03AB3602319}" type="slidenum">
                <a:rPr kumimoji="0" lang="en-US" sz="797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NPP Sans Light" pitchFamily="50" charset="0"/>
                  <a:ea typeface="+mn-ea"/>
                  <a:cs typeface="+mn-cs"/>
                </a:rPr>
                <a:pPr marL="0" marR="0" lvl="0" indent="0" algn="ctr" defTabSz="12125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2</a:t>
              </a:fld>
              <a:endParaRPr kumimoji="0" lang="en-US" sz="79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NPP Sans Light" pitchFamily="50" charset="0"/>
                <a:ea typeface="+mn-ea"/>
                <a:cs typeface="+mn-cs"/>
              </a:endParaRPr>
            </a:p>
          </p:txBody>
        </p:sp>
        <p:cxnSp>
          <p:nvCxnSpPr>
            <p:cNvPr id="98" name="Straight Connector 47">
              <a:extLst>
                <a:ext uri="{FF2B5EF4-FFF2-40B4-BE49-F238E27FC236}">
                  <a16:creationId xmlns:a16="http://schemas.microsoft.com/office/drawing/2014/main" id="{B5956295-350A-E803-6D7D-B98D7D97BA13}"/>
                </a:ext>
              </a:extLst>
            </p:cNvPr>
            <p:cNvCxnSpPr/>
            <p:nvPr/>
          </p:nvCxnSpPr>
          <p:spPr>
            <a:xfrm>
              <a:off x="10590958" y="2287191"/>
              <a:ext cx="0" cy="14400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ZoneTexte 3">
            <a:extLst>
              <a:ext uri="{FF2B5EF4-FFF2-40B4-BE49-F238E27FC236}">
                <a16:creationId xmlns:a16="http://schemas.microsoft.com/office/drawing/2014/main" id="{5241FE02-3AF4-37E0-ED2D-9EFB126BEC7E}"/>
              </a:ext>
            </a:extLst>
          </p:cNvPr>
          <p:cNvSpPr txBox="1"/>
          <p:nvPr/>
        </p:nvSpPr>
        <p:spPr>
          <a:xfrm>
            <a:off x="2772005" y="1537479"/>
            <a:ext cx="84146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Log In GTM on </a:t>
            </a:r>
            <a:r>
              <a:rPr lang="fr-FR" dirty="0">
                <a:hlinkClick r:id="rId2"/>
              </a:rPr>
              <a:t>Google Tag Manager</a:t>
            </a:r>
            <a:r>
              <a:rPr lang="fr-FR" dirty="0"/>
              <a:t> and </a:t>
            </a:r>
            <a:r>
              <a:rPr lang="fr-FR" dirty="0" err="1"/>
              <a:t>access</a:t>
            </a:r>
            <a:r>
              <a:rPr lang="fr-FR" dirty="0"/>
              <a:t> </a:t>
            </a:r>
            <a:r>
              <a:rPr lang="fr-FR" dirty="0" err="1"/>
              <a:t>your</a:t>
            </a:r>
            <a:r>
              <a:rPr lang="fr-FR" dirty="0"/>
              <a:t> LVL3 container for </a:t>
            </a:r>
            <a:r>
              <a:rPr lang="fr-FR" dirty="0" err="1"/>
              <a:t>your</a:t>
            </a:r>
            <a:r>
              <a:rPr lang="fr-FR" dirty="0"/>
              <a:t> local </a:t>
            </a:r>
            <a:r>
              <a:rPr lang="fr-FR" dirty="0" err="1"/>
              <a:t>website</a:t>
            </a:r>
            <a:endParaRPr lang="fr-FR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49F68FD2-237B-2848-10B5-AE41DDC63B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76711" y="2333558"/>
            <a:ext cx="8708501" cy="303010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5D03DE6D-148D-D112-BB91-BF02105626FA}"/>
              </a:ext>
            </a:extLst>
          </p:cNvPr>
          <p:cNvSpPr txBox="1"/>
          <p:nvPr/>
        </p:nvSpPr>
        <p:spPr>
          <a:xfrm>
            <a:off x="296571" y="1593446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00" b="1" dirty="0"/>
              <a:t>1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2A5051DE-D317-C118-37EF-9AE07FFA8CFD}"/>
              </a:ext>
            </a:extLst>
          </p:cNvPr>
          <p:cNvSpPr txBox="1"/>
          <p:nvPr/>
        </p:nvSpPr>
        <p:spPr>
          <a:xfrm>
            <a:off x="301073" y="2303819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00" b="1" dirty="0">
                <a:solidFill>
                  <a:schemeClr val="bg1">
                    <a:lumMod val="75000"/>
                  </a:schemeClr>
                </a:solidFill>
              </a:rPr>
              <a:t>2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F636AA89-9AE3-8E03-D66E-29B3B676F5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26434" y="2713268"/>
            <a:ext cx="7939537" cy="3670540"/>
          </a:xfrm>
          <a:prstGeom prst="rect">
            <a:avLst/>
          </a:prstGeom>
        </p:spPr>
      </p:pic>
      <p:sp>
        <p:nvSpPr>
          <p:cNvPr id="17" name="Rectangle: Rounded Corners 18">
            <a:extLst>
              <a:ext uri="{FF2B5EF4-FFF2-40B4-BE49-F238E27FC236}">
                <a16:creationId xmlns:a16="http://schemas.microsoft.com/office/drawing/2014/main" id="{E89773A8-B1FD-794C-2CB8-F0A3166AF3F3}"/>
              </a:ext>
            </a:extLst>
          </p:cNvPr>
          <p:cNvSpPr/>
          <p:nvPr/>
        </p:nvSpPr>
        <p:spPr>
          <a:xfrm>
            <a:off x="796998" y="3221001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2"/>
                </a:solidFill>
                <a:latin typeface="+mj-lt"/>
              </a:rPr>
              <a:t>Configure your tag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67CCF065-B782-A56A-DF5F-6E96FA768018}"/>
              </a:ext>
            </a:extLst>
          </p:cNvPr>
          <p:cNvSpPr txBox="1"/>
          <p:nvPr/>
        </p:nvSpPr>
        <p:spPr>
          <a:xfrm>
            <a:off x="296571" y="3219019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3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7AB2F7B7-6326-9C8E-69B8-4C5115B0AA50}"/>
              </a:ext>
            </a:extLst>
          </p:cNvPr>
          <p:cNvSpPr/>
          <p:nvPr/>
        </p:nvSpPr>
        <p:spPr>
          <a:xfrm>
            <a:off x="796998" y="3977026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Preview and test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C52F1F69-C40C-94FE-9E48-F890480D28A9}"/>
              </a:ext>
            </a:extLst>
          </p:cNvPr>
          <p:cNvSpPr txBox="1"/>
          <p:nvPr/>
        </p:nvSpPr>
        <p:spPr>
          <a:xfrm>
            <a:off x="296571" y="3975044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4</a:t>
            </a:r>
          </a:p>
        </p:txBody>
      </p:sp>
      <p:sp>
        <p:nvSpPr>
          <p:cNvPr id="21" name="Rectangle: Rounded Corners 18">
            <a:extLst>
              <a:ext uri="{FF2B5EF4-FFF2-40B4-BE49-F238E27FC236}">
                <a16:creationId xmlns:a16="http://schemas.microsoft.com/office/drawing/2014/main" id="{C7947B59-FBD8-F28C-9898-560915E9FACF}"/>
              </a:ext>
            </a:extLst>
          </p:cNvPr>
          <p:cNvSpPr/>
          <p:nvPr/>
        </p:nvSpPr>
        <p:spPr>
          <a:xfrm>
            <a:off x="760660" y="4747204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Finalize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422E239A-014E-ED6D-E9E0-01180C501B40}"/>
              </a:ext>
            </a:extLst>
          </p:cNvPr>
          <p:cNvSpPr txBox="1"/>
          <p:nvPr/>
        </p:nvSpPr>
        <p:spPr>
          <a:xfrm>
            <a:off x="260233" y="4745222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5</a:t>
            </a:r>
          </a:p>
        </p:txBody>
      </p:sp>
      <p:sp>
        <p:nvSpPr>
          <p:cNvPr id="23" name="Rectangle: Rounded Corners 18">
            <a:extLst>
              <a:ext uri="{FF2B5EF4-FFF2-40B4-BE49-F238E27FC236}">
                <a16:creationId xmlns:a16="http://schemas.microsoft.com/office/drawing/2014/main" id="{ADFE6B47-3A38-71D5-D072-CD028D28FAA4}"/>
              </a:ext>
            </a:extLst>
          </p:cNvPr>
          <p:cNvSpPr/>
          <p:nvPr/>
        </p:nvSpPr>
        <p:spPr>
          <a:xfrm>
            <a:off x="806788" y="5450108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Until next time 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355CC20E-C4F7-358E-765A-C83AA4D00CB5}"/>
              </a:ext>
            </a:extLst>
          </p:cNvPr>
          <p:cNvSpPr txBox="1"/>
          <p:nvPr/>
        </p:nvSpPr>
        <p:spPr>
          <a:xfrm>
            <a:off x="306361" y="5448126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786386467"/>
      </p:ext>
    </p:extLst>
  </p:cSld>
  <p:clrMapOvr>
    <a:masterClrMapping/>
  </p:clrMapOvr>
  <p:transition spd="slow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F1DACA-F2F3-DCD7-8F2E-D258C00E7B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5" name="Group 44">
            <a:extLst>
              <a:ext uri="{FF2B5EF4-FFF2-40B4-BE49-F238E27FC236}">
                <a16:creationId xmlns:a16="http://schemas.microsoft.com/office/drawing/2014/main" id="{4A1BE2D6-A4DF-9C65-E255-F0F87A2FDD15}"/>
              </a:ext>
            </a:extLst>
          </p:cNvPr>
          <p:cNvGrpSpPr/>
          <p:nvPr/>
        </p:nvGrpSpPr>
        <p:grpSpPr>
          <a:xfrm>
            <a:off x="10583924" y="6482505"/>
            <a:ext cx="2150333" cy="169853"/>
            <a:chOff x="8658915" y="2277666"/>
            <a:chExt cx="2279310" cy="180042"/>
          </a:xfrm>
        </p:grpSpPr>
        <p:sp>
          <p:nvSpPr>
            <p:cNvPr id="96" name="Date Placeholder 3">
              <a:extLst>
                <a:ext uri="{FF2B5EF4-FFF2-40B4-BE49-F238E27FC236}">
                  <a16:creationId xmlns:a16="http://schemas.microsoft.com/office/drawing/2014/main" id="{1C8E05F4-5F95-1E12-359B-E892B70985A1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8658915" y="2277666"/>
              <a:ext cx="1885063" cy="1800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r" defTabSz="121944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722" algn="l" defTabSz="1219444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444" algn="l" defTabSz="1219444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9166" algn="l" defTabSz="1219444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888" algn="l" defTabSz="1219444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8610" algn="l" defTabSz="1219444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8332" algn="l" defTabSz="1219444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8053" algn="l" defTabSz="1219444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7775" algn="l" defTabSz="1219444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2125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97" b="0" i="0" u="none" strike="noStrike" kern="1200" cap="none" spc="299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BNPP Sans Light" pitchFamily="50" charset="0"/>
                <a:ea typeface="+mn-ea"/>
                <a:cs typeface="+mn-cs"/>
              </a:endParaRPr>
            </a:p>
          </p:txBody>
        </p:sp>
        <p:sp>
          <p:nvSpPr>
            <p:cNvPr id="97" name="Slide Number Placeholder 4">
              <a:extLst>
                <a:ext uri="{FF2B5EF4-FFF2-40B4-BE49-F238E27FC236}">
                  <a16:creationId xmlns:a16="http://schemas.microsoft.com/office/drawing/2014/main" id="{5DF20CB6-E84E-1A26-4ADA-15FA8280FAC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698162" y="2277666"/>
              <a:ext cx="240063" cy="1800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r" defTabSz="1219444" rtl="0" eaLnBrk="1" latinLnBrk="0" hangingPunct="1">
                <a:defRPr sz="11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722" algn="l" defTabSz="1219444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444" algn="l" defTabSz="1219444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9166" algn="l" defTabSz="1219444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888" algn="l" defTabSz="1219444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8610" algn="l" defTabSz="1219444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8332" algn="l" defTabSz="1219444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8053" algn="l" defTabSz="1219444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7775" algn="l" defTabSz="1219444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25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276219AF-F5ED-455B-A512-B03AB3602319}" type="slidenum">
                <a:rPr kumimoji="0" lang="en-US" sz="797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NPP Sans Light" pitchFamily="50" charset="0"/>
                  <a:ea typeface="+mn-ea"/>
                  <a:cs typeface="+mn-cs"/>
                </a:rPr>
                <a:pPr marL="0" marR="0" lvl="0" indent="0" algn="ctr" defTabSz="12125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3</a:t>
              </a:fld>
              <a:endParaRPr kumimoji="0" lang="en-US" sz="79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NPP Sans Light" pitchFamily="50" charset="0"/>
                <a:ea typeface="+mn-ea"/>
                <a:cs typeface="+mn-cs"/>
              </a:endParaRPr>
            </a:p>
          </p:txBody>
        </p:sp>
        <p:cxnSp>
          <p:nvCxnSpPr>
            <p:cNvPr id="98" name="Straight Connector 47">
              <a:extLst>
                <a:ext uri="{FF2B5EF4-FFF2-40B4-BE49-F238E27FC236}">
                  <a16:creationId xmlns:a16="http://schemas.microsoft.com/office/drawing/2014/main" id="{64EA6FC3-4F94-E8FF-BA49-01C38919E6A7}"/>
                </a:ext>
              </a:extLst>
            </p:cNvPr>
            <p:cNvCxnSpPr/>
            <p:nvPr/>
          </p:nvCxnSpPr>
          <p:spPr>
            <a:xfrm>
              <a:off x="10590958" y="2287191"/>
              <a:ext cx="0" cy="14400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Rectangle: Rounded Corners 18">
            <a:extLst>
              <a:ext uri="{FF2B5EF4-FFF2-40B4-BE49-F238E27FC236}">
                <a16:creationId xmlns:a16="http://schemas.microsoft.com/office/drawing/2014/main" id="{E058113A-22B6-F69B-520D-EBD6634D72F8}"/>
              </a:ext>
            </a:extLst>
          </p:cNvPr>
          <p:cNvSpPr/>
          <p:nvPr/>
        </p:nvSpPr>
        <p:spPr>
          <a:xfrm>
            <a:off x="796998" y="1595428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2"/>
                </a:solidFill>
                <a:latin typeface="+mj-lt"/>
              </a:rPr>
              <a:t>Connect to GTM</a:t>
            </a:r>
          </a:p>
        </p:txBody>
      </p:sp>
      <p:sp>
        <p:nvSpPr>
          <p:cNvPr id="16" name="Rectangle: Rounded Corners 18">
            <a:extLst>
              <a:ext uri="{FF2B5EF4-FFF2-40B4-BE49-F238E27FC236}">
                <a16:creationId xmlns:a16="http://schemas.microsoft.com/office/drawing/2014/main" id="{C6D3BAFC-C3AE-4F3F-2AC8-82F902754F0B}"/>
              </a:ext>
            </a:extLst>
          </p:cNvPr>
          <p:cNvSpPr/>
          <p:nvPr/>
        </p:nvSpPr>
        <p:spPr>
          <a:xfrm>
            <a:off x="806788" y="2330631"/>
            <a:ext cx="1197545" cy="731428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defRPr/>
            </a:pPr>
            <a:r>
              <a:rPr lang="en-US" sz="1400" b="1" dirty="0">
                <a:solidFill>
                  <a:schemeClr val="tx1"/>
                </a:solidFill>
                <a:latin typeface="+mj-lt"/>
              </a:rPr>
              <a:t>Create a new tag and set its triggering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9026558-AC75-4C8A-FA57-F219805EB336}"/>
              </a:ext>
            </a:extLst>
          </p:cNvPr>
          <p:cNvSpPr/>
          <p:nvPr/>
        </p:nvSpPr>
        <p:spPr>
          <a:xfrm>
            <a:off x="178896" y="2255601"/>
            <a:ext cx="1975007" cy="89037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100">
              <a:solidFill>
                <a:schemeClr val="tx1"/>
              </a:solidFill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F7481433-7801-E443-5AAE-579D990CF951}"/>
              </a:ext>
            </a:extLst>
          </p:cNvPr>
          <p:cNvSpPr txBox="1"/>
          <p:nvPr/>
        </p:nvSpPr>
        <p:spPr>
          <a:xfrm>
            <a:off x="296571" y="1593446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1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911589D3-BEA5-958A-8D80-44E122C74BBB}"/>
              </a:ext>
            </a:extLst>
          </p:cNvPr>
          <p:cNvSpPr txBox="1"/>
          <p:nvPr/>
        </p:nvSpPr>
        <p:spPr>
          <a:xfrm>
            <a:off x="301073" y="2303819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00" b="1" dirty="0"/>
              <a:t>2</a:t>
            </a:r>
          </a:p>
        </p:txBody>
      </p:sp>
      <p:sp>
        <p:nvSpPr>
          <p:cNvPr id="23" name="Espace réservé du texte 8">
            <a:extLst>
              <a:ext uri="{FF2B5EF4-FFF2-40B4-BE49-F238E27FC236}">
                <a16:creationId xmlns:a16="http://schemas.microsoft.com/office/drawing/2014/main" id="{297315BE-66C1-4637-2137-CDDDA9E905CE}"/>
              </a:ext>
            </a:extLst>
          </p:cNvPr>
          <p:cNvSpPr txBox="1">
            <a:spLocks/>
          </p:cNvSpPr>
          <p:nvPr/>
        </p:nvSpPr>
        <p:spPr>
          <a:xfrm>
            <a:off x="719138" y="468000"/>
            <a:ext cx="10753725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 cap="all" baseline="0">
                <a:solidFill>
                  <a:schemeClr val="accent1"/>
                </a:solidFill>
                <a:latin typeface="BNPP Sans Condensed" panose="02000000000000000000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public websites | incident management</a:t>
            </a:r>
          </a:p>
          <a:p>
            <a:endParaRPr lang="en-GB" dirty="0"/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C3E2EC54-A5A2-CF77-0A88-9473D83FDC0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52730"/>
          <a:stretch/>
        </p:blipFill>
        <p:spPr>
          <a:xfrm>
            <a:off x="2643336" y="949055"/>
            <a:ext cx="4726294" cy="1441287"/>
          </a:xfrm>
          <a:prstGeom prst="rect">
            <a:avLst/>
          </a:prstGeom>
        </p:spPr>
      </p:pic>
      <p:pic>
        <p:nvPicPr>
          <p:cNvPr id="27" name="Image 26">
            <a:extLst>
              <a:ext uri="{FF2B5EF4-FFF2-40B4-BE49-F238E27FC236}">
                <a16:creationId xmlns:a16="http://schemas.microsoft.com/office/drawing/2014/main" id="{508AFA2A-D2C2-6801-B70C-EFF4F6D787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4814" y="2626984"/>
            <a:ext cx="6738388" cy="3970836"/>
          </a:xfrm>
          <a:prstGeom prst="rect">
            <a:avLst/>
          </a:prstGeom>
        </p:spPr>
      </p:pic>
      <p:sp>
        <p:nvSpPr>
          <p:cNvPr id="28" name="Ellipse 27">
            <a:extLst>
              <a:ext uri="{FF2B5EF4-FFF2-40B4-BE49-F238E27FC236}">
                <a16:creationId xmlns:a16="http://schemas.microsoft.com/office/drawing/2014/main" id="{27D718F9-094F-3142-DA8A-F8F10D489DF3}"/>
              </a:ext>
            </a:extLst>
          </p:cNvPr>
          <p:cNvSpPr/>
          <p:nvPr/>
        </p:nvSpPr>
        <p:spPr>
          <a:xfrm>
            <a:off x="2781795" y="2626984"/>
            <a:ext cx="1430976" cy="323166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noFill/>
            </a:endParaRP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A0708B12-52ED-6CF1-AE57-B85CE12CCC45}"/>
              </a:ext>
            </a:extLst>
          </p:cNvPr>
          <p:cNvSpPr txBox="1"/>
          <p:nvPr/>
        </p:nvSpPr>
        <p:spPr>
          <a:xfrm>
            <a:off x="4316722" y="2580818"/>
            <a:ext cx="33745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a. Name to </a:t>
            </a:r>
            <a:r>
              <a:rPr lang="fr-FR" dirty="0" err="1"/>
              <a:t>your</a:t>
            </a:r>
            <a:r>
              <a:rPr lang="fr-FR" dirty="0"/>
              <a:t> tag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A51E24BB-67C1-994C-EBBF-B1FDCE96D7CC}"/>
              </a:ext>
            </a:extLst>
          </p:cNvPr>
          <p:cNvSpPr txBox="1"/>
          <p:nvPr/>
        </p:nvSpPr>
        <p:spPr>
          <a:xfrm>
            <a:off x="7565917" y="5421989"/>
            <a:ext cx="36790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b. Click to set the </a:t>
            </a:r>
            <a:r>
              <a:rPr lang="fr-FR" dirty="0" err="1"/>
              <a:t>triggering</a:t>
            </a:r>
            <a:r>
              <a:rPr lang="fr-FR" dirty="0"/>
              <a:t> </a:t>
            </a:r>
            <a:r>
              <a:rPr lang="fr-FR" dirty="0" err="1"/>
              <a:t>rules</a:t>
            </a:r>
            <a:endParaRPr lang="fr-FR" dirty="0"/>
          </a:p>
        </p:txBody>
      </p:sp>
      <p:sp>
        <p:nvSpPr>
          <p:cNvPr id="31" name="Rectangle: Rounded Corners 18">
            <a:extLst>
              <a:ext uri="{FF2B5EF4-FFF2-40B4-BE49-F238E27FC236}">
                <a16:creationId xmlns:a16="http://schemas.microsoft.com/office/drawing/2014/main" id="{EA0A1696-1C52-43CB-8CBC-EA62EEEBD1C3}"/>
              </a:ext>
            </a:extLst>
          </p:cNvPr>
          <p:cNvSpPr/>
          <p:nvPr/>
        </p:nvSpPr>
        <p:spPr>
          <a:xfrm>
            <a:off x="796998" y="3221001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2"/>
                </a:solidFill>
                <a:latin typeface="+mj-lt"/>
              </a:rPr>
              <a:t>Configure your tag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BC8B547D-315F-7758-4B8C-DB0A4C9291EF}"/>
              </a:ext>
            </a:extLst>
          </p:cNvPr>
          <p:cNvSpPr txBox="1"/>
          <p:nvPr/>
        </p:nvSpPr>
        <p:spPr>
          <a:xfrm>
            <a:off x="296571" y="3219019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3</a:t>
            </a:r>
          </a:p>
        </p:txBody>
      </p:sp>
      <p:sp>
        <p:nvSpPr>
          <p:cNvPr id="33" name="Rectangle: Rounded Corners 18">
            <a:extLst>
              <a:ext uri="{FF2B5EF4-FFF2-40B4-BE49-F238E27FC236}">
                <a16:creationId xmlns:a16="http://schemas.microsoft.com/office/drawing/2014/main" id="{F16AD7F9-C424-C4F3-E63B-E65DC6915104}"/>
              </a:ext>
            </a:extLst>
          </p:cNvPr>
          <p:cNvSpPr/>
          <p:nvPr/>
        </p:nvSpPr>
        <p:spPr>
          <a:xfrm>
            <a:off x="796998" y="3977026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Preview and test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6BA91642-D1E1-521F-09B1-E912160B48AB}"/>
              </a:ext>
            </a:extLst>
          </p:cNvPr>
          <p:cNvSpPr txBox="1"/>
          <p:nvPr/>
        </p:nvSpPr>
        <p:spPr>
          <a:xfrm>
            <a:off x="296571" y="3975044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4</a:t>
            </a:r>
          </a:p>
        </p:txBody>
      </p:sp>
      <p:sp>
        <p:nvSpPr>
          <p:cNvPr id="35" name="Rectangle: Rounded Corners 18">
            <a:extLst>
              <a:ext uri="{FF2B5EF4-FFF2-40B4-BE49-F238E27FC236}">
                <a16:creationId xmlns:a16="http://schemas.microsoft.com/office/drawing/2014/main" id="{7E14B1B6-1471-DE96-8FBA-78B8973F6EB0}"/>
              </a:ext>
            </a:extLst>
          </p:cNvPr>
          <p:cNvSpPr/>
          <p:nvPr/>
        </p:nvSpPr>
        <p:spPr>
          <a:xfrm>
            <a:off x="760660" y="4747204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Finalize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0CE01A70-FB20-F6F6-C4AD-FBA06AF0F734}"/>
              </a:ext>
            </a:extLst>
          </p:cNvPr>
          <p:cNvSpPr txBox="1"/>
          <p:nvPr/>
        </p:nvSpPr>
        <p:spPr>
          <a:xfrm>
            <a:off x="260233" y="4745222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5</a:t>
            </a:r>
          </a:p>
        </p:txBody>
      </p:sp>
      <p:sp>
        <p:nvSpPr>
          <p:cNvPr id="37" name="Rectangle: Rounded Corners 18">
            <a:extLst>
              <a:ext uri="{FF2B5EF4-FFF2-40B4-BE49-F238E27FC236}">
                <a16:creationId xmlns:a16="http://schemas.microsoft.com/office/drawing/2014/main" id="{329185FD-1CA3-CB80-309B-C5E54BDA7AD2}"/>
              </a:ext>
            </a:extLst>
          </p:cNvPr>
          <p:cNvSpPr/>
          <p:nvPr/>
        </p:nvSpPr>
        <p:spPr>
          <a:xfrm>
            <a:off x="806788" y="5450108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Until next time 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EF752C39-2A09-D71C-523A-788F71BAF81D}"/>
              </a:ext>
            </a:extLst>
          </p:cNvPr>
          <p:cNvSpPr txBox="1"/>
          <p:nvPr/>
        </p:nvSpPr>
        <p:spPr>
          <a:xfrm>
            <a:off x="306361" y="5448126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305191547"/>
      </p:ext>
    </p:extLst>
  </p:cSld>
  <p:clrMapOvr>
    <a:masterClrMapping/>
  </p:clrMapOvr>
  <p:transition spd="slow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87CAD2AB-545D-2783-C8A3-4A95411E70D1}"/>
              </a:ext>
            </a:extLst>
          </p:cNvPr>
          <p:cNvSpPr txBox="1">
            <a:spLocks/>
          </p:cNvSpPr>
          <p:nvPr/>
        </p:nvSpPr>
        <p:spPr>
          <a:xfrm>
            <a:off x="719138" y="468000"/>
            <a:ext cx="10753725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 cap="all" baseline="0">
                <a:solidFill>
                  <a:schemeClr val="accent1"/>
                </a:solidFill>
                <a:latin typeface="BNPP Sans Condensed" panose="02000000000000000000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public websites | incident management</a:t>
            </a:r>
          </a:p>
          <a:p>
            <a:endParaRPr lang="en-GB" dirty="0"/>
          </a:p>
        </p:txBody>
      </p:sp>
      <p:sp>
        <p:nvSpPr>
          <p:cNvPr id="28" name="Rectangle: Rounded Corners 18">
            <a:extLst>
              <a:ext uri="{FF2B5EF4-FFF2-40B4-BE49-F238E27FC236}">
                <a16:creationId xmlns:a16="http://schemas.microsoft.com/office/drawing/2014/main" id="{8FFA7F80-91B8-F9CB-5C6F-D5D6AF9D4BD5}"/>
              </a:ext>
            </a:extLst>
          </p:cNvPr>
          <p:cNvSpPr/>
          <p:nvPr/>
        </p:nvSpPr>
        <p:spPr>
          <a:xfrm>
            <a:off x="796998" y="1595428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2"/>
                </a:solidFill>
                <a:latin typeface="+mj-lt"/>
              </a:rPr>
              <a:t>Connect to GTM</a:t>
            </a:r>
          </a:p>
        </p:txBody>
      </p:sp>
      <p:sp>
        <p:nvSpPr>
          <p:cNvPr id="31" name="Rectangle: Rounded Corners 18">
            <a:extLst>
              <a:ext uri="{FF2B5EF4-FFF2-40B4-BE49-F238E27FC236}">
                <a16:creationId xmlns:a16="http://schemas.microsoft.com/office/drawing/2014/main" id="{3BC5EF92-95B0-A3B6-407A-50A827092BBE}"/>
              </a:ext>
            </a:extLst>
          </p:cNvPr>
          <p:cNvSpPr/>
          <p:nvPr/>
        </p:nvSpPr>
        <p:spPr>
          <a:xfrm>
            <a:off x="806788" y="2330631"/>
            <a:ext cx="1197545" cy="731428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defRPr/>
            </a:pPr>
            <a:r>
              <a:rPr lang="en-US" sz="1400" b="1" dirty="0">
                <a:solidFill>
                  <a:schemeClr val="tx1"/>
                </a:solidFill>
                <a:latin typeface="+mj-lt"/>
              </a:rPr>
              <a:t>Create a new tag and set its triggering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0D0093F-842E-A90D-E5E1-2780059178FC}"/>
              </a:ext>
            </a:extLst>
          </p:cNvPr>
          <p:cNvSpPr/>
          <p:nvPr/>
        </p:nvSpPr>
        <p:spPr>
          <a:xfrm>
            <a:off x="178896" y="2255601"/>
            <a:ext cx="1975007" cy="89037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100">
              <a:solidFill>
                <a:schemeClr val="tx1"/>
              </a:solidFill>
            </a:endParaRP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7E19F17D-07DF-6AD3-298C-03C34A772C61}"/>
              </a:ext>
            </a:extLst>
          </p:cNvPr>
          <p:cNvSpPr txBox="1"/>
          <p:nvPr/>
        </p:nvSpPr>
        <p:spPr>
          <a:xfrm>
            <a:off x="296571" y="1593446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1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C3615C2F-EB9F-79CE-A2DF-1B4ACFD9DD96}"/>
              </a:ext>
            </a:extLst>
          </p:cNvPr>
          <p:cNvSpPr txBox="1"/>
          <p:nvPr/>
        </p:nvSpPr>
        <p:spPr>
          <a:xfrm>
            <a:off x="301073" y="2303819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00" b="1" dirty="0"/>
              <a:t>2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CFEA6937-8777-3EE3-D188-0785EA30F40A}"/>
              </a:ext>
            </a:extLst>
          </p:cNvPr>
          <p:cNvSpPr txBox="1"/>
          <p:nvPr/>
        </p:nvSpPr>
        <p:spPr>
          <a:xfrm>
            <a:off x="2357291" y="920263"/>
            <a:ext cx="97040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The </a:t>
            </a:r>
            <a:r>
              <a:rPr lang="fr-FR" dirty="0" err="1"/>
              <a:t>below</a:t>
            </a:r>
            <a:r>
              <a:rPr lang="fr-FR" dirty="0"/>
              <a:t> trigger </a:t>
            </a:r>
            <a:r>
              <a:rPr lang="fr-FR" dirty="0" err="1"/>
              <a:t>list</a:t>
            </a:r>
            <a:r>
              <a:rPr lang="fr-FR" dirty="0"/>
              <a:t> </a:t>
            </a:r>
            <a:r>
              <a:rPr lang="fr-FR" dirty="0" err="1"/>
              <a:t>is</a:t>
            </a:r>
            <a:r>
              <a:rPr lang="fr-FR" dirty="0"/>
              <a:t> </a:t>
            </a:r>
            <a:r>
              <a:rPr lang="fr-FR" dirty="0" err="1"/>
              <a:t>pre</a:t>
            </a:r>
            <a:r>
              <a:rPr lang="fr-FR" dirty="0"/>
              <a:t> set but </a:t>
            </a:r>
            <a:r>
              <a:rPr lang="fr-FR" dirty="0" err="1"/>
              <a:t>we</a:t>
            </a:r>
            <a:r>
              <a:rPr lang="fr-FR" dirty="0"/>
              <a:t> </a:t>
            </a:r>
            <a:r>
              <a:rPr lang="fr-FR" dirty="0" err="1"/>
              <a:t>want</a:t>
            </a:r>
            <a:r>
              <a:rPr lang="fr-FR" dirty="0"/>
              <a:t> the warning banner to </a:t>
            </a:r>
            <a:r>
              <a:rPr lang="fr-FR" dirty="0" err="1"/>
              <a:t>appear</a:t>
            </a:r>
            <a:r>
              <a:rPr lang="fr-FR" dirty="0"/>
              <a:t> on </a:t>
            </a:r>
            <a:r>
              <a:rPr lang="fr-FR" dirty="0" err="1"/>
              <a:t>each</a:t>
            </a:r>
            <a:r>
              <a:rPr lang="fr-FR" dirty="0"/>
              <a:t> page of the </a:t>
            </a:r>
            <a:r>
              <a:rPr lang="fr-FR" dirty="0" err="1"/>
              <a:t>website</a:t>
            </a:r>
            <a:r>
              <a:rPr lang="fr-FR" dirty="0"/>
              <a:t> </a:t>
            </a:r>
            <a:r>
              <a:rPr lang="fr-FR" dirty="0" err="1"/>
              <a:t>therefore</a:t>
            </a:r>
            <a:r>
              <a:rPr lang="fr-FR" dirty="0"/>
              <a:t> </a:t>
            </a:r>
            <a:r>
              <a:rPr lang="fr-FR" dirty="0" err="1"/>
              <a:t>we</a:t>
            </a:r>
            <a:r>
              <a:rPr lang="fr-FR" dirty="0"/>
              <a:t> </a:t>
            </a:r>
            <a:r>
              <a:rPr lang="fr-FR" dirty="0" err="1"/>
              <a:t>need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a new trigger (click on the +)</a:t>
            </a:r>
          </a:p>
        </p:txBody>
      </p:sp>
      <p:pic>
        <p:nvPicPr>
          <p:cNvPr id="44" name="Image 43">
            <a:extLst>
              <a:ext uri="{FF2B5EF4-FFF2-40B4-BE49-F238E27FC236}">
                <a16:creationId xmlns:a16="http://schemas.microsoft.com/office/drawing/2014/main" id="{A92E658A-0710-6AAB-9F5E-CDD1D7B16C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0966" y="1588479"/>
            <a:ext cx="7498595" cy="2254994"/>
          </a:xfrm>
          <a:prstGeom prst="rect">
            <a:avLst/>
          </a:prstGeom>
        </p:spPr>
      </p:pic>
      <p:pic>
        <p:nvPicPr>
          <p:cNvPr id="48" name="Image 47">
            <a:extLst>
              <a:ext uri="{FF2B5EF4-FFF2-40B4-BE49-F238E27FC236}">
                <a16:creationId xmlns:a16="http://schemas.microsoft.com/office/drawing/2014/main" id="{3278A4E7-6964-603D-89BB-723E888737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55066" y="4123133"/>
            <a:ext cx="7650393" cy="2557496"/>
          </a:xfrm>
          <a:prstGeom prst="rect">
            <a:avLst/>
          </a:prstGeom>
        </p:spPr>
      </p:pic>
      <p:sp>
        <p:nvSpPr>
          <p:cNvPr id="35" name="ZoneTexte 34">
            <a:extLst>
              <a:ext uri="{FF2B5EF4-FFF2-40B4-BE49-F238E27FC236}">
                <a16:creationId xmlns:a16="http://schemas.microsoft.com/office/drawing/2014/main" id="{941D3DCD-D1A5-4B9E-D189-C77033C01265}"/>
              </a:ext>
            </a:extLst>
          </p:cNvPr>
          <p:cNvSpPr txBox="1"/>
          <p:nvPr/>
        </p:nvSpPr>
        <p:spPr>
          <a:xfrm>
            <a:off x="2357291" y="3753801"/>
            <a:ext cx="93883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Name </a:t>
            </a:r>
            <a:r>
              <a:rPr lang="fr-FR" dirty="0" err="1"/>
              <a:t>your</a:t>
            </a:r>
            <a:r>
              <a:rPr lang="fr-FR" dirty="0"/>
              <a:t> trigger and click to select a new trigger</a:t>
            </a:r>
          </a:p>
        </p:txBody>
      </p:sp>
      <p:sp>
        <p:nvSpPr>
          <p:cNvPr id="49" name="Rectangle: Rounded Corners 18">
            <a:extLst>
              <a:ext uri="{FF2B5EF4-FFF2-40B4-BE49-F238E27FC236}">
                <a16:creationId xmlns:a16="http://schemas.microsoft.com/office/drawing/2014/main" id="{6A37A9E8-985C-A20E-A0DA-3A868FFE4DA9}"/>
              </a:ext>
            </a:extLst>
          </p:cNvPr>
          <p:cNvSpPr/>
          <p:nvPr/>
        </p:nvSpPr>
        <p:spPr>
          <a:xfrm>
            <a:off x="796998" y="3977026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Preview and test</a:t>
            </a: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070B0994-57D4-A2D8-F1AD-E8484A5808AF}"/>
              </a:ext>
            </a:extLst>
          </p:cNvPr>
          <p:cNvSpPr txBox="1"/>
          <p:nvPr/>
        </p:nvSpPr>
        <p:spPr>
          <a:xfrm>
            <a:off x="296571" y="3975044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4</a:t>
            </a:r>
          </a:p>
        </p:txBody>
      </p:sp>
      <p:sp>
        <p:nvSpPr>
          <p:cNvPr id="51" name="Rectangle: Rounded Corners 18">
            <a:extLst>
              <a:ext uri="{FF2B5EF4-FFF2-40B4-BE49-F238E27FC236}">
                <a16:creationId xmlns:a16="http://schemas.microsoft.com/office/drawing/2014/main" id="{80D05582-FC7F-0498-9244-331B9C79F31E}"/>
              </a:ext>
            </a:extLst>
          </p:cNvPr>
          <p:cNvSpPr/>
          <p:nvPr/>
        </p:nvSpPr>
        <p:spPr>
          <a:xfrm>
            <a:off x="796998" y="3221001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2"/>
                </a:solidFill>
                <a:latin typeface="+mj-lt"/>
              </a:rPr>
              <a:t>Configure your tag</a:t>
            </a:r>
          </a:p>
        </p:txBody>
      </p:sp>
      <p:sp>
        <p:nvSpPr>
          <p:cNvPr id="52" name="ZoneTexte 51">
            <a:extLst>
              <a:ext uri="{FF2B5EF4-FFF2-40B4-BE49-F238E27FC236}">
                <a16:creationId xmlns:a16="http://schemas.microsoft.com/office/drawing/2014/main" id="{1E072ECD-5ABA-CCB4-5A74-F168A8F59E04}"/>
              </a:ext>
            </a:extLst>
          </p:cNvPr>
          <p:cNvSpPr txBox="1"/>
          <p:nvPr/>
        </p:nvSpPr>
        <p:spPr>
          <a:xfrm>
            <a:off x="296571" y="3219019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3</a:t>
            </a:r>
          </a:p>
        </p:txBody>
      </p:sp>
      <p:sp>
        <p:nvSpPr>
          <p:cNvPr id="53" name="Rectangle: Rounded Corners 18">
            <a:extLst>
              <a:ext uri="{FF2B5EF4-FFF2-40B4-BE49-F238E27FC236}">
                <a16:creationId xmlns:a16="http://schemas.microsoft.com/office/drawing/2014/main" id="{4754BDFA-3830-8592-4708-D25177957B07}"/>
              </a:ext>
            </a:extLst>
          </p:cNvPr>
          <p:cNvSpPr/>
          <p:nvPr/>
        </p:nvSpPr>
        <p:spPr>
          <a:xfrm>
            <a:off x="760660" y="4747204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Finalize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8D050328-CF32-CD5A-8255-641EFF3E6C79}"/>
              </a:ext>
            </a:extLst>
          </p:cNvPr>
          <p:cNvSpPr txBox="1"/>
          <p:nvPr/>
        </p:nvSpPr>
        <p:spPr>
          <a:xfrm>
            <a:off x="260233" y="4745222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5</a:t>
            </a:r>
          </a:p>
        </p:txBody>
      </p:sp>
      <p:sp>
        <p:nvSpPr>
          <p:cNvPr id="55" name="Rectangle: Rounded Corners 18">
            <a:extLst>
              <a:ext uri="{FF2B5EF4-FFF2-40B4-BE49-F238E27FC236}">
                <a16:creationId xmlns:a16="http://schemas.microsoft.com/office/drawing/2014/main" id="{BFABC2A2-22BD-3102-2961-837C4F5F3492}"/>
              </a:ext>
            </a:extLst>
          </p:cNvPr>
          <p:cNvSpPr/>
          <p:nvPr/>
        </p:nvSpPr>
        <p:spPr>
          <a:xfrm>
            <a:off x="806788" y="5450108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Until next time 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B71233F2-52DC-70ED-1652-AAD51CFC0ACE}"/>
              </a:ext>
            </a:extLst>
          </p:cNvPr>
          <p:cNvSpPr txBox="1"/>
          <p:nvPr/>
        </p:nvSpPr>
        <p:spPr>
          <a:xfrm>
            <a:off x="306361" y="5448126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987461214"/>
      </p:ext>
    </p:extLst>
  </p:cSld>
  <p:clrMapOvr>
    <a:masterClrMapping/>
  </p:clrMapOvr>
  <p:transition spd="slow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165914-B473-43EC-8D11-8A8B4A1843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4FDC377-1257-66E3-DEAF-AF98BCFC61F0}"/>
              </a:ext>
            </a:extLst>
          </p:cNvPr>
          <p:cNvSpPr txBox="1">
            <a:spLocks/>
          </p:cNvSpPr>
          <p:nvPr/>
        </p:nvSpPr>
        <p:spPr>
          <a:xfrm>
            <a:off x="719138" y="468000"/>
            <a:ext cx="10753725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 cap="all" baseline="0">
                <a:solidFill>
                  <a:schemeClr val="accent1"/>
                </a:solidFill>
                <a:latin typeface="BNPP Sans Condensed" panose="02000000000000000000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ublic websites | incident management</a:t>
            </a:r>
          </a:p>
          <a:p>
            <a:endParaRPr lang="en-GB" dirty="0"/>
          </a:p>
        </p:txBody>
      </p:sp>
      <p:sp>
        <p:nvSpPr>
          <p:cNvPr id="28" name="Rectangle: Rounded Corners 18">
            <a:extLst>
              <a:ext uri="{FF2B5EF4-FFF2-40B4-BE49-F238E27FC236}">
                <a16:creationId xmlns:a16="http://schemas.microsoft.com/office/drawing/2014/main" id="{D61F2501-8B95-211F-BE51-0DD3686FB905}"/>
              </a:ext>
            </a:extLst>
          </p:cNvPr>
          <p:cNvSpPr/>
          <p:nvPr/>
        </p:nvSpPr>
        <p:spPr>
          <a:xfrm>
            <a:off x="796998" y="1595428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2"/>
                </a:solidFill>
                <a:latin typeface="+mj-lt"/>
              </a:rPr>
              <a:t>Connect to GTM</a:t>
            </a:r>
          </a:p>
        </p:txBody>
      </p:sp>
      <p:sp>
        <p:nvSpPr>
          <p:cNvPr id="31" name="Rectangle: Rounded Corners 18">
            <a:extLst>
              <a:ext uri="{FF2B5EF4-FFF2-40B4-BE49-F238E27FC236}">
                <a16:creationId xmlns:a16="http://schemas.microsoft.com/office/drawing/2014/main" id="{99FC6D7B-7FAA-6872-788F-9456590CC81E}"/>
              </a:ext>
            </a:extLst>
          </p:cNvPr>
          <p:cNvSpPr/>
          <p:nvPr/>
        </p:nvSpPr>
        <p:spPr>
          <a:xfrm>
            <a:off x="806788" y="2330631"/>
            <a:ext cx="1197545" cy="731428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defRPr/>
            </a:pPr>
            <a:r>
              <a:rPr lang="en-US" sz="1400" b="1" dirty="0">
                <a:solidFill>
                  <a:schemeClr val="tx1"/>
                </a:solidFill>
                <a:latin typeface="+mj-lt"/>
              </a:rPr>
              <a:t>Create a new tag and set its triggering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A3FDC04-B728-1EB6-1D1B-0B6BEDA2D381}"/>
              </a:ext>
            </a:extLst>
          </p:cNvPr>
          <p:cNvSpPr/>
          <p:nvPr/>
        </p:nvSpPr>
        <p:spPr>
          <a:xfrm>
            <a:off x="178896" y="2255601"/>
            <a:ext cx="1975007" cy="89037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100">
              <a:solidFill>
                <a:schemeClr val="tx1"/>
              </a:solidFill>
            </a:endParaRP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A063E4C4-F13E-B724-AC85-7BFBC9FAD8BD}"/>
              </a:ext>
            </a:extLst>
          </p:cNvPr>
          <p:cNvSpPr txBox="1"/>
          <p:nvPr/>
        </p:nvSpPr>
        <p:spPr>
          <a:xfrm>
            <a:off x="296571" y="1593446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1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474E778A-F527-795A-9293-876C715FEC14}"/>
              </a:ext>
            </a:extLst>
          </p:cNvPr>
          <p:cNvSpPr txBox="1"/>
          <p:nvPr/>
        </p:nvSpPr>
        <p:spPr>
          <a:xfrm>
            <a:off x="301073" y="2303819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00" b="1" dirty="0"/>
              <a:t>2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632D2760-9B1E-2542-CC6C-41EA310AC539}"/>
              </a:ext>
            </a:extLst>
          </p:cNvPr>
          <p:cNvSpPr txBox="1"/>
          <p:nvPr/>
        </p:nvSpPr>
        <p:spPr>
          <a:xfrm>
            <a:off x="2399552" y="1386282"/>
            <a:ext cx="97040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Select « </a:t>
            </a:r>
            <a:r>
              <a:rPr lang="fr-FR" dirty="0" err="1"/>
              <a:t>Window</a:t>
            </a:r>
            <a:r>
              <a:rPr lang="fr-FR" dirty="0"/>
              <a:t> </a:t>
            </a:r>
            <a:r>
              <a:rPr lang="fr-FR" dirty="0" err="1"/>
              <a:t>loaded</a:t>
            </a:r>
            <a:r>
              <a:rPr lang="fr-FR" dirty="0"/>
              <a:t> »  and « All </a:t>
            </a:r>
            <a:r>
              <a:rPr lang="fr-FR" dirty="0" err="1"/>
              <a:t>window</a:t>
            </a:r>
            <a:r>
              <a:rPr lang="fr-FR" dirty="0"/>
              <a:t> </a:t>
            </a:r>
            <a:r>
              <a:rPr lang="fr-FR" dirty="0" err="1"/>
              <a:t>loaded</a:t>
            </a:r>
            <a:r>
              <a:rPr lang="fr-FR" dirty="0"/>
              <a:t> </a:t>
            </a:r>
            <a:r>
              <a:rPr lang="fr-FR" dirty="0" err="1"/>
              <a:t>events</a:t>
            </a:r>
            <a:r>
              <a:rPr lang="fr-FR" dirty="0"/>
              <a:t> » to </a:t>
            </a:r>
            <a:r>
              <a:rPr lang="fr-FR" dirty="0" err="1"/>
              <a:t>make</a:t>
            </a:r>
            <a:r>
              <a:rPr lang="fr-FR" dirty="0"/>
              <a:t> sure the banner show on </a:t>
            </a:r>
            <a:r>
              <a:rPr lang="fr-FR" dirty="0" err="1"/>
              <a:t>each</a:t>
            </a:r>
            <a:r>
              <a:rPr lang="fr-FR" dirty="0"/>
              <a:t> </a:t>
            </a:r>
            <a:r>
              <a:rPr lang="fr-FR" dirty="0" err="1"/>
              <a:t>loaded</a:t>
            </a:r>
            <a:r>
              <a:rPr lang="fr-FR" dirty="0"/>
              <a:t> page 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C11E0FDC-8A11-C305-EFA4-786574C09E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6640" y="2398188"/>
            <a:ext cx="3420677" cy="3073530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3235E543-A879-9DBD-475F-4FCF1D0B54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56188" y="2386203"/>
            <a:ext cx="5747444" cy="2017912"/>
          </a:xfrm>
          <a:prstGeom prst="rect">
            <a:avLst/>
          </a:prstGeom>
        </p:spPr>
      </p:pic>
      <p:grpSp>
        <p:nvGrpSpPr>
          <p:cNvPr id="12" name="Groupe 11">
            <a:extLst>
              <a:ext uri="{FF2B5EF4-FFF2-40B4-BE49-F238E27FC236}">
                <a16:creationId xmlns:a16="http://schemas.microsoft.com/office/drawing/2014/main" id="{97132E59-87DC-AB99-B28A-72CF66A2A17E}"/>
              </a:ext>
            </a:extLst>
          </p:cNvPr>
          <p:cNvGrpSpPr/>
          <p:nvPr/>
        </p:nvGrpSpPr>
        <p:grpSpPr>
          <a:xfrm>
            <a:off x="4752167" y="5589621"/>
            <a:ext cx="4998849" cy="495343"/>
            <a:chOff x="4887686" y="5377281"/>
            <a:chExt cx="4998849" cy="495343"/>
          </a:xfrm>
        </p:grpSpPr>
        <p:pic>
          <p:nvPicPr>
            <p:cNvPr id="7" name="Image 6">
              <a:extLst>
                <a:ext uri="{FF2B5EF4-FFF2-40B4-BE49-F238E27FC236}">
                  <a16:creationId xmlns:a16="http://schemas.microsoft.com/office/drawing/2014/main" id="{BAEDE0C8-85F5-6D4B-DBAF-36460E1441C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77305" y="5377281"/>
              <a:ext cx="922100" cy="495343"/>
            </a:xfrm>
            <a:prstGeom prst="rect">
              <a:avLst/>
            </a:prstGeom>
          </p:spPr>
        </p:pic>
        <p:sp>
          <p:nvSpPr>
            <p:cNvPr id="8" name="Rectangle : coins arrondis 7">
              <a:extLst>
                <a:ext uri="{FF2B5EF4-FFF2-40B4-BE49-F238E27FC236}">
                  <a16:creationId xmlns:a16="http://schemas.microsoft.com/office/drawing/2014/main" id="{28927A6B-DB2E-1331-3C36-F0D62EE4664C}"/>
                </a:ext>
              </a:extLst>
            </p:cNvPr>
            <p:cNvSpPr/>
            <p:nvPr/>
          </p:nvSpPr>
          <p:spPr>
            <a:xfrm>
              <a:off x="4887686" y="5377281"/>
              <a:ext cx="3973285" cy="495343"/>
            </a:xfrm>
            <a:prstGeom prst="roundRect">
              <a:avLst/>
            </a:prstGeom>
            <a:noFill/>
            <a:ln w="57150"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9" name="ZoneTexte 8">
              <a:extLst>
                <a:ext uri="{FF2B5EF4-FFF2-40B4-BE49-F238E27FC236}">
                  <a16:creationId xmlns:a16="http://schemas.microsoft.com/office/drawing/2014/main" id="{9C2780AF-C73E-E67D-8333-D802F9CB0516}"/>
                </a:ext>
              </a:extLst>
            </p:cNvPr>
            <p:cNvSpPr txBox="1"/>
            <p:nvPr/>
          </p:nvSpPr>
          <p:spPr>
            <a:xfrm>
              <a:off x="6207510" y="5459748"/>
              <a:ext cx="367902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b="1" dirty="0" err="1"/>
                <a:t>Make</a:t>
              </a:r>
              <a:r>
                <a:rPr lang="fr-FR" b="1" dirty="0"/>
                <a:t> sure to </a:t>
              </a:r>
              <a:r>
                <a:rPr lang="fr-FR" b="1" dirty="0" err="1"/>
                <a:t>save</a:t>
              </a:r>
              <a:endParaRPr lang="fr-FR" b="1" dirty="0"/>
            </a:p>
          </p:txBody>
        </p:sp>
      </p:grpSp>
      <p:sp>
        <p:nvSpPr>
          <p:cNvPr id="10" name="Rectangle: Rounded Corners 18">
            <a:extLst>
              <a:ext uri="{FF2B5EF4-FFF2-40B4-BE49-F238E27FC236}">
                <a16:creationId xmlns:a16="http://schemas.microsoft.com/office/drawing/2014/main" id="{A3BC32FA-3BB0-3EF0-CDE6-C788EC993A95}"/>
              </a:ext>
            </a:extLst>
          </p:cNvPr>
          <p:cNvSpPr/>
          <p:nvPr/>
        </p:nvSpPr>
        <p:spPr>
          <a:xfrm>
            <a:off x="796998" y="3221001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2"/>
                </a:solidFill>
                <a:latin typeface="+mj-lt"/>
              </a:rPr>
              <a:t>Configure your tag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954E5ABF-0C26-EDC0-BBCF-A47081EB9E73}"/>
              </a:ext>
            </a:extLst>
          </p:cNvPr>
          <p:cNvSpPr txBox="1"/>
          <p:nvPr/>
        </p:nvSpPr>
        <p:spPr>
          <a:xfrm>
            <a:off x="296571" y="3219019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3</a:t>
            </a:r>
          </a:p>
        </p:txBody>
      </p:sp>
      <p:sp>
        <p:nvSpPr>
          <p:cNvPr id="13" name="Rectangle: Rounded Corners 18">
            <a:extLst>
              <a:ext uri="{FF2B5EF4-FFF2-40B4-BE49-F238E27FC236}">
                <a16:creationId xmlns:a16="http://schemas.microsoft.com/office/drawing/2014/main" id="{7A246415-0115-2CAF-AF1E-E9ADD2DDFB0D}"/>
              </a:ext>
            </a:extLst>
          </p:cNvPr>
          <p:cNvSpPr/>
          <p:nvPr/>
        </p:nvSpPr>
        <p:spPr>
          <a:xfrm>
            <a:off x="760660" y="4747204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Finalize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B3E09EBA-0BC9-3C66-782A-D1A3B1C9CAB5}"/>
              </a:ext>
            </a:extLst>
          </p:cNvPr>
          <p:cNvSpPr txBox="1"/>
          <p:nvPr/>
        </p:nvSpPr>
        <p:spPr>
          <a:xfrm>
            <a:off x="260233" y="4745222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5</a:t>
            </a:r>
          </a:p>
        </p:txBody>
      </p:sp>
      <p:sp>
        <p:nvSpPr>
          <p:cNvPr id="15" name="Rectangle: Rounded Corners 18">
            <a:extLst>
              <a:ext uri="{FF2B5EF4-FFF2-40B4-BE49-F238E27FC236}">
                <a16:creationId xmlns:a16="http://schemas.microsoft.com/office/drawing/2014/main" id="{409FB2CC-5074-CDB4-104F-25150C3AE555}"/>
              </a:ext>
            </a:extLst>
          </p:cNvPr>
          <p:cNvSpPr/>
          <p:nvPr/>
        </p:nvSpPr>
        <p:spPr>
          <a:xfrm>
            <a:off x="796998" y="3977026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Preview and test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976FD32-40E4-0483-369F-BB228F5ED1F7}"/>
              </a:ext>
            </a:extLst>
          </p:cNvPr>
          <p:cNvSpPr txBox="1"/>
          <p:nvPr/>
        </p:nvSpPr>
        <p:spPr>
          <a:xfrm>
            <a:off x="296571" y="3975044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4</a:t>
            </a:r>
          </a:p>
        </p:txBody>
      </p:sp>
      <p:sp>
        <p:nvSpPr>
          <p:cNvPr id="17" name="Rectangle: Rounded Corners 18">
            <a:extLst>
              <a:ext uri="{FF2B5EF4-FFF2-40B4-BE49-F238E27FC236}">
                <a16:creationId xmlns:a16="http://schemas.microsoft.com/office/drawing/2014/main" id="{F8B8E7A6-87D4-8C5A-494F-AF7057454DCF}"/>
              </a:ext>
            </a:extLst>
          </p:cNvPr>
          <p:cNvSpPr/>
          <p:nvPr/>
        </p:nvSpPr>
        <p:spPr>
          <a:xfrm>
            <a:off x="806788" y="5450108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Until next time 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DA80268E-1E64-CB98-5496-190A01B72234}"/>
              </a:ext>
            </a:extLst>
          </p:cNvPr>
          <p:cNvSpPr txBox="1"/>
          <p:nvPr/>
        </p:nvSpPr>
        <p:spPr>
          <a:xfrm>
            <a:off x="306361" y="5448126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4175997618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485719-597F-648F-5C84-120B70C19B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C057D24A-C8C2-89DB-833F-ED9BB5B3DFB9}"/>
              </a:ext>
            </a:extLst>
          </p:cNvPr>
          <p:cNvSpPr txBox="1">
            <a:spLocks/>
          </p:cNvSpPr>
          <p:nvPr/>
        </p:nvSpPr>
        <p:spPr>
          <a:xfrm>
            <a:off x="719138" y="468000"/>
            <a:ext cx="10753725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 cap="all" baseline="0">
                <a:solidFill>
                  <a:schemeClr val="accent1"/>
                </a:solidFill>
                <a:latin typeface="BNPP Sans Condensed" panose="02000000000000000000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public websites | incident management</a:t>
            </a:r>
          </a:p>
          <a:p>
            <a:endParaRPr lang="en-GB" dirty="0"/>
          </a:p>
        </p:txBody>
      </p:sp>
      <p:sp>
        <p:nvSpPr>
          <p:cNvPr id="28" name="Rectangle: Rounded Corners 18">
            <a:extLst>
              <a:ext uri="{FF2B5EF4-FFF2-40B4-BE49-F238E27FC236}">
                <a16:creationId xmlns:a16="http://schemas.microsoft.com/office/drawing/2014/main" id="{2B7D227C-42DE-94F1-22FE-0B2A2841493F}"/>
              </a:ext>
            </a:extLst>
          </p:cNvPr>
          <p:cNvSpPr/>
          <p:nvPr/>
        </p:nvSpPr>
        <p:spPr>
          <a:xfrm>
            <a:off x="796998" y="1595428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2"/>
                </a:solidFill>
                <a:latin typeface="+mj-lt"/>
              </a:rPr>
              <a:t>Connect to GTM</a:t>
            </a:r>
          </a:p>
        </p:txBody>
      </p:sp>
      <p:sp>
        <p:nvSpPr>
          <p:cNvPr id="31" name="Rectangle: Rounded Corners 18">
            <a:extLst>
              <a:ext uri="{FF2B5EF4-FFF2-40B4-BE49-F238E27FC236}">
                <a16:creationId xmlns:a16="http://schemas.microsoft.com/office/drawing/2014/main" id="{9EC16F1A-4FC4-726A-159C-5509B45E7465}"/>
              </a:ext>
            </a:extLst>
          </p:cNvPr>
          <p:cNvSpPr/>
          <p:nvPr/>
        </p:nvSpPr>
        <p:spPr>
          <a:xfrm>
            <a:off x="806788" y="2330631"/>
            <a:ext cx="1197545" cy="731428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defRPr/>
            </a:pPr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Create a new tag and set its triggering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3D90145-C907-0DC2-C618-29BB9B1FB1C1}"/>
              </a:ext>
            </a:extLst>
          </p:cNvPr>
          <p:cNvSpPr/>
          <p:nvPr/>
        </p:nvSpPr>
        <p:spPr>
          <a:xfrm>
            <a:off x="191028" y="3159214"/>
            <a:ext cx="1975007" cy="636728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100">
              <a:solidFill>
                <a:schemeClr val="tx1"/>
              </a:solidFill>
            </a:endParaRP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840AD3ED-6E34-028D-C975-A31FD324BB1D}"/>
              </a:ext>
            </a:extLst>
          </p:cNvPr>
          <p:cNvSpPr txBox="1"/>
          <p:nvPr/>
        </p:nvSpPr>
        <p:spPr>
          <a:xfrm>
            <a:off x="296571" y="1593446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1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19D44855-9872-B962-C0E3-15BFFB9B76F8}"/>
              </a:ext>
            </a:extLst>
          </p:cNvPr>
          <p:cNvSpPr txBox="1"/>
          <p:nvPr/>
        </p:nvSpPr>
        <p:spPr>
          <a:xfrm>
            <a:off x="301073" y="2303819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00" b="1" dirty="0">
                <a:solidFill>
                  <a:schemeClr val="bg1">
                    <a:lumMod val="75000"/>
                  </a:schemeClr>
                </a:solidFill>
              </a:rPr>
              <a:t>2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42A3F925-3ECC-0C08-DBB3-DF4288D7EAD8}"/>
              </a:ext>
            </a:extLst>
          </p:cNvPr>
          <p:cNvSpPr txBox="1"/>
          <p:nvPr/>
        </p:nvSpPr>
        <p:spPr>
          <a:xfrm>
            <a:off x="2357291" y="920263"/>
            <a:ext cx="9704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Click on the Tag Configuration block and </a:t>
            </a:r>
            <a:r>
              <a:rPr lang="fr-FR" dirty="0" err="1"/>
              <a:t>add</a:t>
            </a:r>
            <a:r>
              <a:rPr lang="fr-FR" dirty="0"/>
              <a:t> a custom HTML tag</a:t>
            </a:r>
          </a:p>
        </p:txBody>
      </p:sp>
      <p:sp>
        <p:nvSpPr>
          <p:cNvPr id="10" name="Rectangle: Rounded Corners 18">
            <a:extLst>
              <a:ext uri="{FF2B5EF4-FFF2-40B4-BE49-F238E27FC236}">
                <a16:creationId xmlns:a16="http://schemas.microsoft.com/office/drawing/2014/main" id="{BACEB429-0F05-E33B-ED61-DD0EC4FC9BE7}"/>
              </a:ext>
            </a:extLst>
          </p:cNvPr>
          <p:cNvSpPr/>
          <p:nvPr/>
        </p:nvSpPr>
        <p:spPr>
          <a:xfrm>
            <a:off x="796998" y="3221001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tx1"/>
                </a:solidFill>
                <a:latin typeface="+mj-lt"/>
              </a:rPr>
              <a:t>Configure your tag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23C8F2D7-45E9-9093-BC21-3E6F994A4A4D}"/>
              </a:ext>
            </a:extLst>
          </p:cNvPr>
          <p:cNvSpPr txBox="1"/>
          <p:nvPr/>
        </p:nvSpPr>
        <p:spPr>
          <a:xfrm>
            <a:off x="296571" y="3219019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>
                <a:solidFill>
                  <a:schemeClr val="tx1"/>
                </a:solidFill>
              </a:rPr>
              <a:t>3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E6E6AB70-50DB-FF09-4CAB-9FE3A35CE97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8892"/>
          <a:stretch/>
        </p:blipFill>
        <p:spPr>
          <a:xfrm>
            <a:off x="2492829" y="1289595"/>
            <a:ext cx="2853262" cy="3014234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0CDBDD2D-DCE9-C1FE-16D2-2BFC26838891}"/>
              </a:ext>
            </a:extLst>
          </p:cNvPr>
          <p:cNvSpPr txBox="1"/>
          <p:nvPr/>
        </p:nvSpPr>
        <p:spPr>
          <a:xfrm>
            <a:off x="2315176" y="5136380"/>
            <a:ext cx="969183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&lt;script&gt;</a:t>
            </a:r>
            <a:br>
              <a:rPr lang="en-US" sz="1400" dirty="0"/>
            </a:br>
            <a:r>
              <a:rPr lang="en-US" sz="1400" dirty="0"/>
              <a:t>  var wrapper = </a:t>
            </a:r>
            <a:r>
              <a:rPr lang="en-US" sz="1400" dirty="0" err="1"/>
              <a:t>document.getElementsByTagName</a:t>
            </a:r>
            <a:r>
              <a:rPr lang="en-US" sz="1400" dirty="0"/>
              <a:t>("body");</a:t>
            </a:r>
            <a:br>
              <a:rPr lang="en-US" sz="1400" dirty="0"/>
            </a:br>
            <a:r>
              <a:rPr lang="en-US" sz="1400" dirty="0"/>
              <a:t>  wrapper[0].</a:t>
            </a:r>
            <a:r>
              <a:rPr lang="en-US" sz="1400" dirty="0" err="1"/>
              <a:t>insertAdjacentHTML</a:t>
            </a:r>
            <a:r>
              <a:rPr lang="en-US" sz="1400" dirty="0"/>
              <a:t>('</a:t>
            </a:r>
            <a:r>
              <a:rPr lang="en-US" sz="1400" dirty="0" err="1"/>
              <a:t>afterbegin</a:t>
            </a:r>
            <a:r>
              <a:rPr lang="en-US" sz="1400" dirty="0"/>
              <a:t>', "&lt;div style='padding: 20px; color:#</a:t>
            </a:r>
            <a:r>
              <a:rPr lang="en-US" sz="1400" dirty="0" err="1"/>
              <a:t>ffffff</a:t>
            </a:r>
            <a:r>
              <a:rPr lang="en-US" sz="1400" dirty="0"/>
              <a:t>; text-align: center; width: 100%; </a:t>
            </a:r>
            <a:r>
              <a:rPr lang="en-US" sz="1400" dirty="0" err="1"/>
              <a:t>background-color:orange</a:t>
            </a:r>
            <a:r>
              <a:rPr lang="en-US" sz="1400" dirty="0"/>
              <a:t>; display: block;'&gt;Due to technical issues our webforms are not working and some webpages are not loading. Thank you for your patience.&lt;</a:t>
            </a:r>
            <a:r>
              <a:rPr lang="en-US" sz="1400" dirty="0" err="1"/>
              <a:t>br</a:t>
            </a:r>
            <a:r>
              <a:rPr lang="en-US" sz="1400" dirty="0"/>
              <a:t>&gt;&lt;/div&gt;");</a:t>
            </a:r>
            <a:br>
              <a:rPr lang="en-US" sz="1400" dirty="0"/>
            </a:br>
            <a:r>
              <a:rPr lang="en-US" sz="1400" dirty="0"/>
              <a:t>&lt;/script&gt;</a:t>
            </a:r>
            <a:endParaRPr lang="fr-FR" sz="1400" dirty="0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EABAACE5-CA8F-6F9A-E4DE-8CC53DD6D2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72885" y="2376774"/>
            <a:ext cx="5685710" cy="2104451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1C382AA4-7C37-C653-7BD8-A5A52C17FAC6}"/>
              </a:ext>
            </a:extLst>
          </p:cNvPr>
          <p:cNvSpPr txBox="1"/>
          <p:nvPr/>
        </p:nvSpPr>
        <p:spPr>
          <a:xfrm>
            <a:off x="3663700" y="4689345"/>
            <a:ext cx="9704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On the HTML section </a:t>
            </a:r>
            <a:r>
              <a:rPr lang="fr-FR" dirty="0" err="1"/>
              <a:t>add</a:t>
            </a:r>
            <a:r>
              <a:rPr lang="fr-FR" dirty="0"/>
              <a:t> the </a:t>
            </a:r>
            <a:r>
              <a:rPr lang="fr-FR" dirty="0" err="1"/>
              <a:t>below</a:t>
            </a:r>
            <a:r>
              <a:rPr lang="fr-FR" dirty="0"/>
              <a:t> code and </a:t>
            </a:r>
            <a:r>
              <a:rPr lang="fr-FR" dirty="0" err="1"/>
              <a:t>adapt</a:t>
            </a:r>
            <a:r>
              <a:rPr lang="fr-FR" dirty="0"/>
              <a:t> the </a:t>
            </a:r>
            <a:r>
              <a:rPr lang="fr-FR" dirty="0" err="1"/>
              <a:t>text</a:t>
            </a:r>
            <a:r>
              <a:rPr lang="fr-FR" dirty="0"/>
              <a:t> to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needs</a:t>
            </a:r>
            <a:endParaRPr lang="fr-FR" dirty="0"/>
          </a:p>
        </p:txBody>
      </p:sp>
      <p:sp>
        <p:nvSpPr>
          <p:cNvPr id="16" name="Flèche : courbe vers la gauche 15">
            <a:extLst>
              <a:ext uri="{FF2B5EF4-FFF2-40B4-BE49-F238E27FC236}">
                <a16:creationId xmlns:a16="http://schemas.microsoft.com/office/drawing/2014/main" id="{676AFC2B-6BF5-235C-6964-111936D2A207}"/>
              </a:ext>
            </a:extLst>
          </p:cNvPr>
          <p:cNvSpPr/>
          <p:nvPr/>
        </p:nvSpPr>
        <p:spPr>
          <a:xfrm>
            <a:off x="11168744" y="3990475"/>
            <a:ext cx="726685" cy="939863"/>
          </a:xfrm>
          <a:prstGeom prst="curvedLeftArrow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17" name="Rectangle: Rounded Corners 18">
            <a:extLst>
              <a:ext uri="{FF2B5EF4-FFF2-40B4-BE49-F238E27FC236}">
                <a16:creationId xmlns:a16="http://schemas.microsoft.com/office/drawing/2014/main" id="{0156B7D6-AED9-EAA3-B0C8-B0AA60BF4287}"/>
              </a:ext>
            </a:extLst>
          </p:cNvPr>
          <p:cNvSpPr/>
          <p:nvPr/>
        </p:nvSpPr>
        <p:spPr>
          <a:xfrm>
            <a:off x="796998" y="3977026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Preview and test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E82D130A-8A5F-BA9E-85A1-5648F6CB79F9}"/>
              </a:ext>
            </a:extLst>
          </p:cNvPr>
          <p:cNvSpPr txBox="1"/>
          <p:nvPr/>
        </p:nvSpPr>
        <p:spPr>
          <a:xfrm>
            <a:off x="296571" y="3975044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4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F4C2FE4-7BD8-E798-5D1E-34D867AADBC9}"/>
              </a:ext>
            </a:extLst>
          </p:cNvPr>
          <p:cNvSpPr/>
          <p:nvPr/>
        </p:nvSpPr>
        <p:spPr>
          <a:xfrm>
            <a:off x="760660" y="4747204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Finalize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B57AC809-249B-5B9A-4626-3080CA9B8FD8}"/>
              </a:ext>
            </a:extLst>
          </p:cNvPr>
          <p:cNvSpPr txBox="1"/>
          <p:nvPr/>
        </p:nvSpPr>
        <p:spPr>
          <a:xfrm>
            <a:off x="260233" y="4745222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5</a:t>
            </a:r>
          </a:p>
        </p:txBody>
      </p:sp>
      <p:sp>
        <p:nvSpPr>
          <p:cNvPr id="22" name="Rectangle: Rounded Corners 18">
            <a:extLst>
              <a:ext uri="{FF2B5EF4-FFF2-40B4-BE49-F238E27FC236}">
                <a16:creationId xmlns:a16="http://schemas.microsoft.com/office/drawing/2014/main" id="{B497689E-DABC-E26D-8996-FADF00E5CD2F}"/>
              </a:ext>
            </a:extLst>
          </p:cNvPr>
          <p:cNvSpPr/>
          <p:nvPr/>
        </p:nvSpPr>
        <p:spPr>
          <a:xfrm>
            <a:off x="806788" y="5450108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Until next time 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E4ADAFA-5D07-861C-CC00-AF481254713A}"/>
              </a:ext>
            </a:extLst>
          </p:cNvPr>
          <p:cNvSpPr txBox="1"/>
          <p:nvPr/>
        </p:nvSpPr>
        <p:spPr>
          <a:xfrm>
            <a:off x="306361" y="5448126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98426623"/>
      </p:ext>
    </p:extLst>
  </p:cSld>
  <p:clrMapOvr>
    <a:masterClrMapping/>
  </p:clrMapOvr>
  <p:transition spd="slow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DEDCCC-D09E-8CA7-6AD1-843A513B7F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21FCEBB4-3AEE-00B7-30BB-D4344D4AD42E}"/>
              </a:ext>
            </a:extLst>
          </p:cNvPr>
          <p:cNvSpPr txBox="1">
            <a:spLocks/>
          </p:cNvSpPr>
          <p:nvPr/>
        </p:nvSpPr>
        <p:spPr>
          <a:xfrm>
            <a:off x="719138" y="468000"/>
            <a:ext cx="10753725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 cap="all" baseline="0">
                <a:solidFill>
                  <a:schemeClr val="accent1"/>
                </a:solidFill>
                <a:latin typeface="BNPP Sans Condensed" panose="02000000000000000000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public websites | incident management</a:t>
            </a:r>
          </a:p>
          <a:p>
            <a:endParaRPr lang="en-GB" dirty="0"/>
          </a:p>
        </p:txBody>
      </p:sp>
      <p:sp>
        <p:nvSpPr>
          <p:cNvPr id="28" name="Rectangle: Rounded Corners 18">
            <a:extLst>
              <a:ext uri="{FF2B5EF4-FFF2-40B4-BE49-F238E27FC236}">
                <a16:creationId xmlns:a16="http://schemas.microsoft.com/office/drawing/2014/main" id="{B658FF32-8611-F64B-968F-44D8E2703ADB}"/>
              </a:ext>
            </a:extLst>
          </p:cNvPr>
          <p:cNvSpPr/>
          <p:nvPr/>
        </p:nvSpPr>
        <p:spPr>
          <a:xfrm>
            <a:off x="796998" y="1595428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2"/>
                </a:solidFill>
                <a:latin typeface="+mj-lt"/>
              </a:rPr>
              <a:t>Connect to GTM</a:t>
            </a:r>
          </a:p>
        </p:txBody>
      </p:sp>
      <p:sp>
        <p:nvSpPr>
          <p:cNvPr id="31" name="Rectangle: Rounded Corners 18">
            <a:extLst>
              <a:ext uri="{FF2B5EF4-FFF2-40B4-BE49-F238E27FC236}">
                <a16:creationId xmlns:a16="http://schemas.microsoft.com/office/drawing/2014/main" id="{4F6FF35D-5B63-0118-F85C-964848FFD7CD}"/>
              </a:ext>
            </a:extLst>
          </p:cNvPr>
          <p:cNvSpPr/>
          <p:nvPr/>
        </p:nvSpPr>
        <p:spPr>
          <a:xfrm>
            <a:off x="806788" y="2330631"/>
            <a:ext cx="1197545" cy="731428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defRPr/>
            </a:pPr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Create a new tag and set its triggering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4823F32-3B6B-6A23-7CAB-A41EA803E4FD}"/>
              </a:ext>
            </a:extLst>
          </p:cNvPr>
          <p:cNvSpPr/>
          <p:nvPr/>
        </p:nvSpPr>
        <p:spPr>
          <a:xfrm>
            <a:off x="191028" y="3159214"/>
            <a:ext cx="1975007" cy="636728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100">
              <a:solidFill>
                <a:schemeClr val="tx1"/>
              </a:solidFill>
            </a:endParaRP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73579819-AE35-1BEA-F416-A7C3E9F668A8}"/>
              </a:ext>
            </a:extLst>
          </p:cNvPr>
          <p:cNvSpPr txBox="1"/>
          <p:nvPr/>
        </p:nvSpPr>
        <p:spPr>
          <a:xfrm>
            <a:off x="296571" y="1593446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1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D74F4BF1-9D24-ACAA-A637-4F80912D36FA}"/>
              </a:ext>
            </a:extLst>
          </p:cNvPr>
          <p:cNvSpPr txBox="1"/>
          <p:nvPr/>
        </p:nvSpPr>
        <p:spPr>
          <a:xfrm>
            <a:off x="301073" y="2303819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00" b="1" dirty="0">
                <a:solidFill>
                  <a:schemeClr val="bg1">
                    <a:lumMod val="75000"/>
                  </a:schemeClr>
                </a:solidFill>
              </a:rPr>
              <a:t>2</a:t>
            </a:r>
          </a:p>
        </p:txBody>
      </p:sp>
      <p:sp>
        <p:nvSpPr>
          <p:cNvPr id="10" name="Rectangle: Rounded Corners 18">
            <a:extLst>
              <a:ext uri="{FF2B5EF4-FFF2-40B4-BE49-F238E27FC236}">
                <a16:creationId xmlns:a16="http://schemas.microsoft.com/office/drawing/2014/main" id="{73193816-09B3-950D-855C-EDCA20D6AE79}"/>
              </a:ext>
            </a:extLst>
          </p:cNvPr>
          <p:cNvSpPr/>
          <p:nvPr/>
        </p:nvSpPr>
        <p:spPr>
          <a:xfrm>
            <a:off x="796998" y="3221001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tx1"/>
                </a:solidFill>
                <a:latin typeface="+mj-lt"/>
              </a:rPr>
              <a:t>Configure your tag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4981BE45-C3F2-BA2B-F209-0A704596DF00}"/>
              </a:ext>
            </a:extLst>
          </p:cNvPr>
          <p:cNvSpPr txBox="1"/>
          <p:nvPr/>
        </p:nvSpPr>
        <p:spPr>
          <a:xfrm>
            <a:off x="296571" y="3219019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B5D2BE6-BA44-6CEC-4672-2118417C3CD1}"/>
              </a:ext>
            </a:extLst>
          </p:cNvPr>
          <p:cNvSpPr txBox="1"/>
          <p:nvPr/>
        </p:nvSpPr>
        <p:spPr>
          <a:xfrm>
            <a:off x="2487920" y="970158"/>
            <a:ext cx="97040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Once the code </a:t>
            </a:r>
            <a:r>
              <a:rPr lang="fr-FR" dirty="0" err="1"/>
              <a:t>is</a:t>
            </a:r>
            <a:r>
              <a:rPr lang="fr-FR" dirty="0"/>
              <a:t> in place go to « Advanced settings » to </a:t>
            </a:r>
            <a:r>
              <a:rPr lang="fr-FR" dirty="0" err="1"/>
              <a:t>adjust</a:t>
            </a:r>
            <a:r>
              <a:rPr lang="fr-FR" dirty="0"/>
              <a:t> the </a:t>
            </a:r>
            <a:r>
              <a:rPr lang="fr-FR" dirty="0" err="1"/>
              <a:t>firing</a:t>
            </a:r>
            <a:r>
              <a:rPr lang="fr-FR" dirty="0"/>
              <a:t> option to « Once per page » 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763D59D0-671A-814E-FCF1-73A36F569C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6148" y="1818462"/>
            <a:ext cx="4833853" cy="2944761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163770B1-192D-EA16-905A-09F68726A1D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5342"/>
          <a:stretch/>
        </p:blipFill>
        <p:spPr>
          <a:xfrm>
            <a:off x="6353281" y="3159214"/>
            <a:ext cx="3817951" cy="935468"/>
          </a:xfrm>
          <a:prstGeom prst="rect">
            <a:avLst/>
          </a:prstGeom>
          <a:ln w="38100">
            <a:solidFill>
              <a:srgbClr val="FF0000"/>
            </a:solidFill>
          </a:ln>
        </p:spPr>
      </p:pic>
      <p:grpSp>
        <p:nvGrpSpPr>
          <p:cNvPr id="8" name="Groupe 7">
            <a:extLst>
              <a:ext uri="{FF2B5EF4-FFF2-40B4-BE49-F238E27FC236}">
                <a16:creationId xmlns:a16="http://schemas.microsoft.com/office/drawing/2014/main" id="{86753C6A-266E-050E-7624-E9F1B8E309AF}"/>
              </a:ext>
            </a:extLst>
          </p:cNvPr>
          <p:cNvGrpSpPr/>
          <p:nvPr/>
        </p:nvGrpSpPr>
        <p:grpSpPr>
          <a:xfrm>
            <a:off x="4883074" y="5389735"/>
            <a:ext cx="4998849" cy="495343"/>
            <a:chOff x="4887686" y="5377281"/>
            <a:chExt cx="4998849" cy="495343"/>
          </a:xfrm>
        </p:grpSpPr>
        <p:pic>
          <p:nvPicPr>
            <p:cNvPr id="9" name="Image 8">
              <a:extLst>
                <a:ext uri="{FF2B5EF4-FFF2-40B4-BE49-F238E27FC236}">
                  <a16:creationId xmlns:a16="http://schemas.microsoft.com/office/drawing/2014/main" id="{4F28B739-A549-65AB-EA2D-65D5F5B2A38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77305" y="5377281"/>
              <a:ext cx="922100" cy="495343"/>
            </a:xfrm>
            <a:prstGeom prst="rect">
              <a:avLst/>
            </a:prstGeom>
          </p:spPr>
        </p:pic>
        <p:sp>
          <p:nvSpPr>
            <p:cNvPr id="13" name="Rectangle : coins arrondis 12">
              <a:extLst>
                <a:ext uri="{FF2B5EF4-FFF2-40B4-BE49-F238E27FC236}">
                  <a16:creationId xmlns:a16="http://schemas.microsoft.com/office/drawing/2014/main" id="{C3ED70BC-5911-6901-95E9-746EBAA8120D}"/>
                </a:ext>
              </a:extLst>
            </p:cNvPr>
            <p:cNvSpPr/>
            <p:nvPr/>
          </p:nvSpPr>
          <p:spPr>
            <a:xfrm>
              <a:off x="4887686" y="5377281"/>
              <a:ext cx="3973285" cy="495343"/>
            </a:xfrm>
            <a:prstGeom prst="roundRect">
              <a:avLst/>
            </a:prstGeom>
            <a:noFill/>
            <a:ln w="57150"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7" name="ZoneTexte 16">
              <a:extLst>
                <a:ext uri="{FF2B5EF4-FFF2-40B4-BE49-F238E27FC236}">
                  <a16:creationId xmlns:a16="http://schemas.microsoft.com/office/drawing/2014/main" id="{23DA32F8-D71F-F9A8-515A-761E0E4B2EAE}"/>
                </a:ext>
              </a:extLst>
            </p:cNvPr>
            <p:cNvSpPr txBox="1"/>
            <p:nvPr/>
          </p:nvSpPr>
          <p:spPr>
            <a:xfrm>
              <a:off x="6207510" y="5459748"/>
              <a:ext cx="367902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b="1" dirty="0" err="1"/>
                <a:t>Make</a:t>
              </a:r>
              <a:r>
                <a:rPr lang="fr-FR" b="1" dirty="0"/>
                <a:t> sure to </a:t>
              </a:r>
              <a:r>
                <a:rPr lang="fr-FR" b="1" dirty="0" err="1"/>
                <a:t>save</a:t>
              </a:r>
              <a:endParaRPr lang="fr-FR" b="1" dirty="0"/>
            </a:p>
          </p:txBody>
        </p:sp>
      </p:grpSp>
      <p:sp>
        <p:nvSpPr>
          <p:cNvPr id="18" name="Rectangle: Rounded Corners 18">
            <a:extLst>
              <a:ext uri="{FF2B5EF4-FFF2-40B4-BE49-F238E27FC236}">
                <a16:creationId xmlns:a16="http://schemas.microsoft.com/office/drawing/2014/main" id="{CF4EAAE3-706F-A103-FD71-B03B51EC76B8}"/>
              </a:ext>
            </a:extLst>
          </p:cNvPr>
          <p:cNvSpPr/>
          <p:nvPr/>
        </p:nvSpPr>
        <p:spPr>
          <a:xfrm>
            <a:off x="796998" y="3977026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Preview and test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FB9135BD-EFB6-C319-0EBD-C8763DC22F3E}"/>
              </a:ext>
            </a:extLst>
          </p:cNvPr>
          <p:cNvSpPr txBox="1"/>
          <p:nvPr/>
        </p:nvSpPr>
        <p:spPr>
          <a:xfrm>
            <a:off x="296571" y="3975044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4</a:t>
            </a:r>
          </a:p>
        </p:txBody>
      </p:sp>
      <p:sp>
        <p:nvSpPr>
          <p:cNvPr id="21" name="Rectangle: Rounded Corners 18">
            <a:extLst>
              <a:ext uri="{FF2B5EF4-FFF2-40B4-BE49-F238E27FC236}">
                <a16:creationId xmlns:a16="http://schemas.microsoft.com/office/drawing/2014/main" id="{933D81A8-C968-8593-645E-6EEB7677A137}"/>
              </a:ext>
            </a:extLst>
          </p:cNvPr>
          <p:cNvSpPr/>
          <p:nvPr/>
        </p:nvSpPr>
        <p:spPr>
          <a:xfrm>
            <a:off x="760660" y="4747204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Finalize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909EA3BE-5CBD-5414-2115-F6ED1FECE5DC}"/>
              </a:ext>
            </a:extLst>
          </p:cNvPr>
          <p:cNvSpPr txBox="1"/>
          <p:nvPr/>
        </p:nvSpPr>
        <p:spPr>
          <a:xfrm>
            <a:off x="260233" y="4745222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5</a:t>
            </a:r>
          </a:p>
        </p:txBody>
      </p:sp>
      <p:sp>
        <p:nvSpPr>
          <p:cNvPr id="23" name="Rectangle: Rounded Corners 18">
            <a:extLst>
              <a:ext uri="{FF2B5EF4-FFF2-40B4-BE49-F238E27FC236}">
                <a16:creationId xmlns:a16="http://schemas.microsoft.com/office/drawing/2014/main" id="{E0CFE01D-782C-43DF-63AC-07415608DE7B}"/>
              </a:ext>
            </a:extLst>
          </p:cNvPr>
          <p:cNvSpPr/>
          <p:nvPr/>
        </p:nvSpPr>
        <p:spPr>
          <a:xfrm>
            <a:off x="806788" y="5450108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Until next time 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A7D0171E-9E0B-0786-F99B-14A0941DD776}"/>
              </a:ext>
            </a:extLst>
          </p:cNvPr>
          <p:cNvSpPr txBox="1"/>
          <p:nvPr/>
        </p:nvSpPr>
        <p:spPr>
          <a:xfrm>
            <a:off x="306361" y="5448126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222925317"/>
      </p:ext>
    </p:extLst>
  </p:cSld>
  <p:clrMapOvr>
    <a:masterClrMapping/>
  </p:clrMapOvr>
  <p:transition spd="slow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E3EC74-C8BF-3349-A9D4-479894688D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42BD0BA5-8141-5A50-5A3F-8C4F84E5EB1D}"/>
              </a:ext>
            </a:extLst>
          </p:cNvPr>
          <p:cNvSpPr txBox="1">
            <a:spLocks/>
          </p:cNvSpPr>
          <p:nvPr/>
        </p:nvSpPr>
        <p:spPr>
          <a:xfrm>
            <a:off x="719138" y="468000"/>
            <a:ext cx="10753725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 cap="all" baseline="0">
                <a:solidFill>
                  <a:schemeClr val="accent1"/>
                </a:solidFill>
                <a:latin typeface="BNPP Sans Condensed" panose="02000000000000000000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public websites | incident management</a:t>
            </a:r>
          </a:p>
          <a:p>
            <a:endParaRPr lang="en-GB" dirty="0"/>
          </a:p>
        </p:txBody>
      </p:sp>
      <p:sp>
        <p:nvSpPr>
          <p:cNvPr id="28" name="Rectangle: Rounded Corners 18">
            <a:extLst>
              <a:ext uri="{FF2B5EF4-FFF2-40B4-BE49-F238E27FC236}">
                <a16:creationId xmlns:a16="http://schemas.microsoft.com/office/drawing/2014/main" id="{B617BD07-2DB2-A04D-F007-BCCA8B5D32CC}"/>
              </a:ext>
            </a:extLst>
          </p:cNvPr>
          <p:cNvSpPr/>
          <p:nvPr/>
        </p:nvSpPr>
        <p:spPr>
          <a:xfrm>
            <a:off x="796998" y="1595428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2"/>
                </a:solidFill>
                <a:latin typeface="+mj-lt"/>
              </a:rPr>
              <a:t>Connect to GTM</a:t>
            </a:r>
          </a:p>
        </p:txBody>
      </p:sp>
      <p:sp>
        <p:nvSpPr>
          <p:cNvPr id="31" name="Rectangle: Rounded Corners 18">
            <a:extLst>
              <a:ext uri="{FF2B5EF4-FFF2-40B4-BE49-F238E27FC236}">
                <a16:creationId xmlns:a16="http://schemas.microsoft.com/office/drawing/2014/main" id="{92781A3A-66B6-73F9-D3FC-E1CB84A84598}"/>
              </a:ext>
            </a:extLst>
          </p:cNvPr>
          <p:cNvSpPr/>
          <p:nvPr/>
        </p:nvSpPr>
        <p:spPr>
          <a:xfrm>
            <a:off x="806788" y="2330631"/>
            <a:ext cx="1197545" cy="731428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defRPr/>
            </a:pPr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Create a new tag and set its triggering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20B1C05-8814-B628-BB03-019B744898B4}"/>
              </a:ext>
            </a:extLst>
          </p:cNvPr>
          <p:cNvSpPr/>
          <p:nvPr/>
        </p:nvSpPr>
        <p:spPr>
          <a:xfrm>
            <a:off x="260233" y="3929392"/>
            <a:ext cx="1975007" cy="636728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100">
              <a:solidFill>
                <a:schemeClr val="tx1"/>
              </a:solidFill>
            </a:endParaRP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507DA1D9-461F-95BD-B721-5AC775D180BF}"/>
              </a:ext>
            </a:extLst>
          </p:cNvPr>
          <p:cNvSpPr txBox="1"/>
          <p:nvPr/>
        </p:nvSpPr>
        <p:spPr>
          <a:xfrm>
            <a:off x="296571" y="1593446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1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0A36B5DF-068B-912A-17C1-66EDAB32765C}"/>
              </a:ext>
            </a:extLst>
          </p:cNvPr>
          <p:cNvSpPr txBox="1"/>
          <p:nvPr/>
        </p:nvSpPr>
        <p:spPr>
          <a:xfrm>
            <a:off x="301073" y="2303819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00" b="1" dirty="0">
                <a:solidFill>
                  <a:schemeClr val="bg1">
                    <a:lumMod val="75000"/>
                  </a:schemeClr>
                </a:solidFill>
              </a:rPr>
              <a:t>2</a:t>
            </a:r>
          </a:p>
        </p:txBody>
      </p:sp>
      <p:sp>
        <p:nvSpPr>
          <p:cNvPr id="10" name="Rectangle: Rounded Corners 18">
            <a:extLst>
              <a:ext uri="{FF2B5EF4-FFF2-40B4-BE49-F238E27FC236}">
                <a16:creationId xmlns:a16="http://schemas.microsoft.com/office/drawing/2014/main" id="{75897D3B-99A5-7E0A-6733-EA0122C8A496}"/>
              </a:ext>
            </a:extLst>
          </p:cNvPr>
          <p:cNvSpPr/>
          <p:nvPr/>
        </p:nvSpPr>
        <p:spPr>
          <a:xfrm>
            <a:off x="796998" y="3221001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Configure your tag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C423FB01-BCB6-58B7-6BFA-78744AB04960}"/>
              </a:ext>
            </a:extLst>
          </p:cNvPr>
          <p:cNvSpPr txBox="1"/>
          <p:nvPr/>
        </p:nvSpPr>
        <p:spPr>
          <a:xfrm>
            <a:off x="296571" y="3219019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3</a:t>
            </a:r>
          </a:p>
        </p:txBody>
      </p:sp>
      <p:sp>
        <p:nvSpPr>
          <p:cNvPr id="3" name="Rectangle: Rounded Corners 18">
            <a:extLst>
              <a:ext uri="{FF2B5EF4-FFF2-40B4-BE49-F238E27FC236}">
                <a16:creationId xmlns:a16="http://schemas.microsoft.com/office/drawing/2014/main" id="{8A9A0756-5919-F4D1-3A75-ED7FA1575393}"/>
              </a:ext>
            </a:extLst>
          </p:cNvPr>
          <p:cNvSpPr/>
          <p:nvPr/>
        </p:nvSpPr>
        <p:spPr>
          <a:xfrm>
            <a:off x="796998" y="3977026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tx1"/>
                </a:solidFill>
                <a:latin typeface="+mj-lt"/>
              </a:rPr>
              <a:t>Preview and test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BC799F6A-D105-912E-2DFD-CA2D8A324C1C}"/>
              </a:ext>
            </a:extLst>
          </p:cNvPr>
          <p:cNvSpPr txBox="1"/>
          <p:nvPr/>
        </p:nvSpPr>
        <p:spPr>
          <a:xfrm>
            <a:off x="296571" y="3975044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>
                <a:solidFill>
                  <a:schemeClr val="tx1"/>
                </a:solidFill>
              </a:rPr>
              <a:t>4</a:t>
            </a: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ABFB8398-4055-6CA6-FA4E-6810BD3E4B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07610" y="1275595"/>
            <a:ext cx="5240968" cy="3110386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D73C0166-782B-A364-052D-78C84D2199C8}"/>
              </a:ext>
            </a:extLst>
          </p:cNvPr>
          <p:cNvSpPr txBox="1"/>
          <p:nvPr/>
        </p:nvSpPr>
        <p:spPr>
          <a:xfrm>
            <a:off x="2640320" y="906263"/>
            <a:ext cx="9704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Use the « </a:t>
            </a:r>
            <a:r>
              <a:rPr lang="fr-FR" dirty="0" err="1"/>
              <a:t>Preview</a:t>
            </a:r>
            <a:r>
              <a:rPr lang="fr-FR" dirty="0"/>
              <a:t> » CTA and </a:t>
            </a:r>
            <a:r>
              <a:rPr lang="fr-FR" dirty="0" err="1"/>
              <a:t>connect</a:t>
            </a:r>
            <a:r>
              <a:rPr lang="fr-FR" dirty="0"/>
              <a:t> the assistant to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website</a:t>
            </a:r>
            <a:endParaRPr lang="fr-FR" dirty="0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7679C4B0-E110-3B66-C69C-9BDEF31FD5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4696" y="1886595"/>
            <a:ext cx="4976291" cy="464860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5FE53139-E9E5-E925-059D-2B799D2548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84696" y="4621375"/>
            <a:ext cx="9056914" cy="1526942"/>
          </a:xfrm>
          <a:prstGeom prst="rect">
            <a:avLst/>
          </a:prstGeom>
        </p:spPr>
      </p:pic>
      <p:sp>
        <p:nvSpPr>
          <p:cNvPr id="27" name="Rectangle: Rounded Corners 18">
            <a:extLst>
              <a:ext uri="{FF2B5EF4-FFF2-40B4-BE49-F238E27FC236}">
                <a16:creationId xmlns:a16="http://schemas.microsoft.com/office/drawing/2014/main" id="{E4945749-D0A8-01A7-5C61-DBC413831669}"/>
              </a:ext>
            </a:extLst>
          </p:cNvPr>
          <p:cNvSpPr/>
          <p:nvPr/>
        </p:nvSpPr>
        <p:spPr>
          <a:xfrm>
            <a:off x="760660" y="4747204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Finalize</a:t>
            </a: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1C10C5B9-1DE1-C019-DD9D-FF102B6F7902}"/>
              </a:ext>
            </a:extLst>
          </p:cNvPr>
          <p:cNvSpPr txBox="1"/>
          <p:nvPr/>
        </p:nvSpPr>
        <p:spPr>
          <a:xfrm>
            <a:off x="260233" y="4745222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5</a:t>
            </a:r>
          </a:p>
        </p:txBody>
      </p:sp>
      <p:sp>
        <p:nvSpPr>
          <p:cNvPr id="30" name="Rectangle: Rounded Corners 18">
            <a:extLst>
              <a:ext uri="{FF2B5EF4-FFF2-40B4-BE49-F238E27FC236}">
                <a16:creationId xmlns:a16="http://schemas.microsoft.com/office/drawing/2014/main" id="{3D722EAD-D109-E860-AD35-CB5C88069DF3}"/>
              </a:ext>
            </a:extLst>
          </p:cNvPr>
          <p:cNvSpPr/>
          <p:nvPr/>
        </p:nvSpPr>
        <p:spPr>
          <a:xfrm>
            <a:off x="806788" y="5450108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Until next time 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C070EBEB-4B84-A7B0-E7B3-F5B7BE897A11}"/>
              </a:ext>
            </a:extLst>
          </p:cNvPr>
          <p:cNvSpPr txBox="1"/>
          <p:nvPr/>
        </p:nvSpPr>
        <p:spPr>
          <a:xfrm>
            <a:off x="306361" y="5448126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738016249"/>
      </p:ext>
    </p:extLst>
  </p:cSld>
  <p:clrMapOvr>
    <a:masterClrMapping/>
  </p:clrMapOvr>
  <p:transition spd="slow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532FDF-E213-3DD6-D9C0-DE24EAB76E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82958781-03C1-BFAA-6F24-298823B83E95}"/>
              </a:ext>
            </a:extLst>
          </p:cNvPr>
          <p:cNvSpPr txBox="1">
            <a:spLocks/>
          </p:cNvSpPr>
          <p:nvPr/>
        </p:nvSpPr>
        <p:spPr>
          <a:xfrm>
            <a:off x="719138" y="468000"/>
            <a:ext cx="10753725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 cap="all" baseline="0">
                <a:solidFill>
                  <a:schemeClr val="accent1"/>
                </a:solidFill>
                <a:latin typeface="BNPP Sans Condensed" panose="02000000000000000000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public websites | incident management</a:t>
            </a:r>
          </a:p>
          <a:p>
            <a:endParaRPr lang="en-GB" dirty="0"/>
          </a:p>
        </p:txBody>
      </p:sp>
      <p:sp>
        <p:nvSpPr>
          <p:cNvPr id="28" name="Rectangle: Rounded Corners 18">
            <a:extLst>
              <a:ext uri="{FF2B5EF4-FFF2-40B4-BE49-F238E27FC236}">
                <a16:creationId xmlns:a16="http://schemas.microsoft.com/office/drawing/2014/main" id="{2F87990A-6447-0096-7B17-3B02A950EE8D}"/>
              </a:ext>
            </a:extLst>
          </p:cNvPr>
          <p:cNvSpPr/>
          <p:nvPr/>
        </p:nvSpPr>
        <p:spPr>
          <a:xfrm>
            <a:off x="796998" y="1595428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2"/>
                </a:solidFill>
                <a:latin typeface="+mj-lt"/>
              </a:rPr>
              <a:t>Connect to GTM</a:t>
            </a:r>
          </a:p>
        </p:txBody>
      </p:sp>
      <p:sp>
        <p:nvSpPr>
          <p:cNvPr id="31" name="Rectangle: Rounded Corners 18">
            <a:extLst>
              <a:ext uri="{FF2B5EF4-FFF2-40B4-BE49-F238E27FC236}">
                <a16:creationId xmlns:a16="http://schemas.microsoft.com/office/drawing/2014/main" id="{5EBF30E0-D35D-049C-2573-57638C2EB77A}"/>
              </a:ext>
            </a:extLst>
          </p:cNvPr>
          <p:cNvSpPr/>
          <p:nvPr/>
        </p:nvSpPr>
        <p:spPr>
          <a:xfrm>
            <a:off x="806788" y="2330631"/>
            <a:ext cx="1197545" cy="731428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defRPr/>
            </a:pPr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Create a new tag and set its triggering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4CB7ECD-30B5-87DE-22A7-6F98AE14BC65}"/>
              </a:ext>
            </a:extLst>
          </p:cNvPr>
          <p:cNvSpPr/>
          <p:nvPr/>
        </p:nvSpPr>
        <p:spPr>
          <a:xfrm>
            <a:off x="296571" y="4625844"/>
            <a:ext cx="1975007" cy="636728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100">
              <a:solidFill>
                <a:schemeClr val="tx1"/>
              </a:solidFill>
            </a:endParaRP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C8622E22-B3C3-0671-9FBD-6B54C6840D5F}"/>
              </a:ext>
            </a:extLst>
          </p:cNvPr>
          <p:cNvSpPr txBox="1"/>
          <p:nvPr/>
        </p:nvSpPr>
        <p:spPr>
          <a:xfrm>
            <a:off x="296571" y="1593446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1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7101FD3D-092A-C8B2-8424-ED8673F0EDB0}"/>
              </a:ext>
            </a:extLst>
          </p:cNvPr>
          <p:cNvSpPr txBox="1"/>
          <p:nvPr/>
        </p:nvSpPr>
        <p:spPr>
          <a:xfrm>
            <a:off x="301073" y="2303819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00" b="1" dirty="0">
                <a:solidFill>
                  <a:schemeClr val="bg1">
                    <a:lumMod val="75000"/>
                  </a:schemeClr>
                </a:solidFill>
              </a:rPr>
              <a:t>2</a:t>
            </a:r>
          </a:p>
        </p:txBody>
      </p:sp>
      <p:sp>
        <p:nvSpPr>
          <p:cNvPr id="10" name="Rectangle: Rounded Corners 18">
            <a:extLst>
              <a:ext uri="{FF2B5EF4-FFF2-40B4-BE49-F238E27FC236}">
                <a16:creationId xmlns:a16="http://schemas.microsoft.com/office/drawing/2014/main" id="{3E2A97EA-09C7-184A-D658-18F2632AD1D8}"/>
              </a:ext>
            </a:extLst>
          </p:cNvPr>
          <p:cNvSpPr/>
          <p:nvPr/>
        </p:nvSpPr>
        <p:spPr>
          <a:xfrm>
            <a:off x="796998" y="3221001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Configure your tag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40AC753E-9AE6-6ED2-5456-82546B482B92}"/>
              </a:ext>
            </a:extLst>
          </p:cNvPr>
          <p:cNvSpPr txBox="1"/>
          <p:nvPr/>
        </p:nvSpPr>
        <p:spPr>
          <a:xfrm>
            <a:off x="296571" y="3219019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3</a:t>
            </a:r>
          </a:p>
        </p:txBody>
      </p:sp>
      <p:sp>
        <p:nvSpPr>
          <p:cNvPr id="3" name="Rectangle: Rounded Corners 18">
            <a:extLst>
              <a:ext uri="{FF2B5EF4-FFF2-40B4-BE49-F238E27FC236}">
                <a16:creationId xmlns:a16="http://schemas.microsoft.com/office/drawing/2014/main" id="{591AE9EA-B36D-76E8-EBF2-15B1F74EB420}"/>
              </a:ext>
            </a:extLst>
          </p:cNvPr>
          <p:cNvSpPr/>
          <p:nvPr/>
        </p:nvSpPr>
        <p:spPr>
          <a:xfrm>
            <a:off x="796998" y="3977026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Preview and test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086D7376-2D0F-C1FC-917B-C1D7D2C5F035}"/>
              </a:ext>
            </a:extLst>
          </p:cNvPr>
          <p:cNvSpPr txBox="1"/>
          <p:nvPr/>
        </p:nvSpPr>
        <p:spPr>
          <a:xfrm>
            <a:off x="296571" y="3975044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4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9E04EDB5-84CF-626C-139C-3EADE633E696}"/>
              </a:ext>
            </a:extLst>
          </p:cNvPr>
          <p:cNvSpPr txBox="1"/>
          <p:nvPr/>
        </p:nvSpPr>
        <p:spPr>
          <a:xfrm>
            <a:off x="2618549" y="1083553"/>
            <a:ext cx="9704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Go back to GTM and « </a:t>
            </a:r>
            <a:r>
              <a:rPr lang="fr-FR" dirty="0" err="1"/>
              <a:t>Submit</a:t>
            </a:r>
            <a:r>
              <a:rPr lang="fr-FR" dirty="0"/>
              <a:t> » to </a:t>
            </a:r>
            <a:r>
              <a:rPr lang="fr-FR" dirty="0" err="1"/>
              <a:t>confirm</a:t>
            </a:r>
            <a:r>
              <a:rPr lang="fr-FR" dirty="0"/>
              <a:t> the change</a:t>
            </a: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404FE59E-6F84-4B3D-3345-4AC5EC9137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04190" y="1599182"/>
            <a:ext cx="5044877" cy="426757"/>
          </a:xfrm>
          <a:prstGeom prst="rect">
            <a:avLst/>
          </a:prstGeom>
        </p:spPr>
      </p:pic>
      <p:sp>
        <p:nvSpPr>
          <p:cNvPr id="2" name="Rectangle: Rounded Corners 18">
            <a:extLst>
              <a:ext uri="{FF2B5EF4-FFF2-40B4-BE49-F238E27FC236}">
                <a16:creationId xmlns:a16="http://schemas.microsoft.com/office/drawing/2014/main" id="{6F3C1DC5-1AC5-EEC6-B89A-A5A9B73820A7}"/>
              </a:ext>
            </a:extLst>
          </p:cNvPr>
          <p:cNvSpPr/>
          <p:nvPr/>
        </p:nvSpPr>
        <p:spPr>
          <a:xfrm>
            <a:off x="796998" y="4705289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tx1"/>
                </a:solidFill>
                <a:latin typeface="+mj-lt"/>
              </a:rPr>
              <a:t>Finalize 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8E956AB3-1479-D334-ED54-9EB4975F68C2}"/>
              </a:ext>
            </a:extLst>
          </p:cNvPr>
          <p:cNvSpPr txBox="1"/>
          <p:nvPr/>
        </p:nvSpPr>
        <p:spPr>
          <a:xfrm>
            <a:off x="296571" y="4703307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>
                <a:solidFill>
                  <a:schemeClr val="tx1"/>
                </a:solidFill>
              </a:rPr>
              <a:t>5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8507F3F9-C518-D42D-1240-92F14D9E1E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14047" y="2647966"/>
            <a:ext cx="7633562" cy="1797320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7F3BFB71-F69B-6F92-D421-C156FFF1B2A4}"/>
              </a:ext>
            </a:extLst>
          </p:cNvPr>
          <p:cNvSpPr txBox="1"/>
          <p:nvPr/>
        </p:nvSpPr>
        <p:spPr>
          <a:xfrm>
            <a:off x="2618549" y="2278634"/>
            <a:ext cx="9704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err="1"/>
              <a:t>Publish</a:t>
            </a:r>
            <a:r>
              <a:rPr lang="fr-FR" dirty="0"/>
              <a:t> to </a:t>
            </a:r>
            <a:r>
              <a:rPr lang="fr-FR" dirty="0" err="1"/>
              <a:t>see</a:t>
            </a:r>
            <a:r>
              <a:rPr lang="fr-FR" dirty="0"/>
              <a:t> </a:t>
            </a:r>
            <a:r>
              <a:rPr lang="fr-FR" dirty="0" err="1"/>
              <a:t>it</a:t>
            </a:r>
            <a:r>
              <a:rPr lang="fr-FR" dirty="0"/>
              <a:t> in production</a:t>
            </a:r>
          </a:p>
        </p:txBody>
      </p:sp>
      <p:sp>
        <p:nvSpPr>
          <p:cNvPr id="9" name="Rectangle: Rounded Corners 18">
            <a:extLst>
              <a:ext uri="{FF2B5EF4-FFF2-40B4-BE49-F238E27FC236}">
                <a16:creationId xmlns:a16="http://schemas.microsoft.com/office/drawing/2014/main" id="{67A08DFE-9323-5B3B-0753-3ACD2518834F}"/>
              </a:ext>
            </a:extLst>
          </p:cNvPr>
          <p:cNvSpPr/>
          <p:nvPr/>
        </p:nvSpPr>
        <p:spPr>
          <a:xfrm>
            <a:off x="806788" y="5450108"/>
            <a:ext cx="1207335" cy="611875"/>
          </a:xfrm>
          <a:prstGeom prst="round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US" sz="1400" b="1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Until next time 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113C1D99-B4F2-F7FD-2B6F-152770F3B685}"/>
              </a:ext>
            </a:extLst>
          </p:cNvPr>
          <p:cNvSpPr txBox="1"/>
          <p:nvPr/>
        </p:nvSpPr>
        <p:spPr>
          <a:xfrm>
            <a:off x="306361" y="5448126"/>
            <a:ext cx="4007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3600" b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360462359"/>
      </p:ext>
    </p:extLst>
  </p:cSld>
  <p:clrMapOvr>
    <a:masterClrMapping/>
  </p:clrMapOvr>
  <p:transition spd="slow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4_mvCaRqqdr97UkFYvTw"/>
</p:tagLst>
</file>

<file path=ppt/theme/theme1.xml><?xml version="1.0" encoding="utf-8"?>
<a:theme xmlns:a="http://schemas.openxmlformats.org/drawingml/2006/main" name="ARVAL - Inside">
  <a:themeElements>
    <a:clrScheme name="Arval">
      <a:dk1>
        <a:sysClr val="windowText" lastClr="000000"/>
      </a:dk1>
      <a:lt1>
        <a:sysClr val="window" lastClr="FFFFFF"/>
      </a:lt1>
      <a:dk2>
        <a:srgbClr val="00945E"/>
      </a:dk2>
      <a:lt2>
        <a:srgbClr val="BEBEBE"/>
      </a:lt2>
      <a:accent1>
        <a:srgbClr val="034242"/>
      </a:accent1>
      <a:accent2>
        <a:srgbClr val="05A05D"/>
      </a:accent2>
      <a:accent3>
        <a:srgbClr val="AAFFAD"/>
      </a:accent3>
      <a:accent4>
        <a:srgbClr val="EAE4CE"/>
      </a:accent4>
      <a:accent5>
        <a:srgbClr val="F8B40D"/>
      </a:accent5>
      <a:accent6>
        <a:srgbClr val="CAF868"/>
      </a:accent6>
      <a:hlink>
        <a:srgbClr val="00BEF3"/>
      </a:hlink>
      <a:folHlink>
        <a:srgbClr val="3B3BDB"/>
      </a:folHlink>
    </a:clrScheme>
    <a:fontScheme name="BNP Mobility">
      <a:majorFont>
        <a:latin typeface="BNPP Sans"/>
        <a:ea typeface=""/>
        <a:cs typeface=""/>
      </a:majorFont>
      <a:minorFont>
        <a:latin typeface="BNPP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Cover">
  <a:themeElements>
    <a:clrScheme name="Arval">
      <a:dk1>
        <a:sysClr val="windowText" lastClr="000000"/>
      </a:dk1>
      <a:lt1>
        <a:sysClr val="window" lastClr="FFFFFF"/>
      </a:lt1>
      <a:dk2>
        <a:srgbClr val="00945E"/>
      </a:dk2>
      <a:lt2>
        <a:srgbClr val="BEBEBE"/>
      </a:lt2>
      <a:accent1>
        <a:srgbClr val="034242"/>
      </a:accent1>
      <a:accent2>
        <a:srgbClr val="05A05D"/>
      </a:accent2>
      <a:accent3>
        <a:srgbClr val="AAFFAD"/>
      </a:accent3>
      <a:accent4>
        <a:srgbClr val="EAE4CE"/>
      </a:accent4>
      <a:accent5>
        <a:srgbClr val="F8B40D"/>
      </a:accent5>
      <a:accent6>
        <a:srgbClr val="CAF868"/>
      </a:accent6>
      <a:hlink>
        <a:srgbClr val="00BEF3"/>
      </a:hlink>
      <a:folHlink>
        <a:srgbClr val="3B3BDB"/>
      </a:folHlink>
    </a:clrScheme>
    <a:fontScheme name="Arval">
      <a:majorFont>
        <a:latin typeface="BNPP Sans Condensed"/>
        <a:ea typeface=""/>
        <a:cs typeface=""/>
      </a:majorFont>
      <a:minorFont>
        <a:latin typeface="BNPP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Agenda">
  <a:themeElements>
    <a:clrScheme name="Arval">
      <a:dk1>
        <a:sysClr val="windowText" lastClr="000000"/>
      </a:dk1>
      <a:lt1>
        <a:sysClr val="window" lastClr="FFFFFF"/>
      </a:lt1>
      <a:dk2>
        <a:srgbClr val="00945E"/>
      </a:dk2>
      <a:lt2>
        <a:srgbClr val="BEBEBE"/>
      </a:lt2>
      <a:accent1>
        <a:srgbClr val="034242"/>
      </a:accent1>
      <a:accent2>
        <a:srgbClr val="05A05D"/>
      </a:accent2>
      <a:accent3>
        <a:srgbClr val="AAFFAD"/>
      </a:accent3>
      <a:accent4>
        <a:srgbClr val="EAE4CE"/>
      </a:accent4>
      <a:accent5>
        <a:srgbClr val="F8B40D"/>
      </a:accent5>
      <a:accent6>
        <a:srgbClr val="CAF868"/>
      </a:accent6>
      <a:hlink>
        <a:srgbClr val="00BEF3"/>
      </a:hlink>
      <a:folHlink>
        <a:srgbClr val="3B3BDB"/>
      </a:folHlink>
    </a:clrScheme>
    <a:fontScheme name="Arval">
      <a:majorFont>
        <a:latin typeface="BNPP Sans Condensed"/>
        <a:ea typeface=""/>
        <a:cs typeface=""/>
      </a:majorFont>
      <a:minorFont>
        <a:latin typeface="BNPP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Chapter">
  <a:themeElements>
    <a:clrScheme name="Arval">
      <a:dk1>
        <a:sysClr val="windowText" lastClr="000000"/>
      </a:dk1>
      <a:lt1>
        <a:sysClr val="window" lastClr="FFFFFF"/>
      </a:lt1>
      <a:dk2>
        <a:srgbClr val="00945E"/>
      </a:dk2>
      <a:lt2>
        <a:srgbClr val="BEBEBE"/>
      </a:lt2>
      <a:accent1>
        <a:srgbClr val="034242"/>
      </a:accent1>
      <a:accent2>
        <a:srgbClr val="05A05D"/>
      </a:accent2>
      <a:accent3>
        <a:srgbClr val="AAFFAD"/>
      </a:accent3>
      <a:accent4>
        <a:srgbClr val="EAE4CE"/>
      </a:accent4>
      <a:accent5>
        <a:srgbClr val="F8B40D"/>
      </a:accent5>
      <a:accent6>
        <a:srgbClr val="CAF868"/>
      </a:accent6>
      <a:hlink>
        <a:srgbClr val="00BEF3"/>
      </a:hlink>
      <a:folHlink>
        <a:srgbClr val="3B3BDB"/>
      </a:folHlink>
    </a:clrScheme>
    <a:fontScheme name="Arval">
      <a:majorFont>
        <a:latin typeface="BNPP Sans Condensed"/>
        <a:ea typeface=""/>
        <a:cs typeface=""/>
      </a:majorFont>
      <a:minorFont>
        <a:latin typeface="BNPP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5.xml><?xml version="1.0" encoding="utf-8"?>
<a:theme xmlns:a="http://schemas.openxmlformats.org/drawingml/2006/main" name="Thank you">
  <a:themeElements>
    <a:clrScheme name="Arval">
      <a:dk1>
        <a:sysClr val="windowText" lastClr="000000"/>
      </a:dk1>
      <a:lt1>
        <a:sysClr val="window" lastClr="FFFFFF"/>
      </a:lt1>
      <a:dk2>
        <a:srgbClr val="00945E"/>
      </a:dk2>
      <a:lt2>
        <a:srgbClr val="BEBEBE"/>
      </a:lt2>
      <a:accent1>
        <a:srgbClr val="034242"/>
      </a:accent1>
      <a:accent2>
        <a:srgbClr val="05A05D"/>
      </a:accent2>
      <a:accent3>
        <a:srgbClr val="AAFFAD"/>
      </a:accent3>
      <a:accent4>
        <a:srgbClr val="EAE4CE"/>
      </a:accent4>
      <a:accent5>
        <a:srgbClr val="F8B40D"/>
      </a:accent5>
      <a:accent6>
        <a:srgbClr val="CAF868"/>
      </a:accent6>
      <a:hlink>
        <a:srgbClr val="00BEF3"/>
      </a:hlink>
      <a:folHlink>
        <a:srgbClr val="3B3BDB"/>
      </a:folHlink>
    </a:clrScheme>
    <a:fontScheme name="BNP Mobility">
      <a:majorFont>
        <a:latin typeface="BNPP Sans"/>
        <a:ea typeface=""/>
        <a:cs typeface=""/>
      </a:majorFont>
      <a:minorFont>
        <a:latin typeface="BNPP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BNPP-ENG-16-9">
  <a:themeElements>
    <a:clrScheme name="Personnalisé 3">
      <a:dk1>
        <a:srgbClr val="000000"/>
      </a:dk1>
      <a:lt1>
        <a:srgbClr val="FFFFFF"/>
      </a:lt1>
      <a:dk2>
        <a:srgbClr val="00915A"/>
      </a:dk2>
      <a:lt2>
        <a:srgbClr val="78848A"/>
      </a:lt2>
      <a:accent1>
        <a:srgbClr val="00AB8E"/>
      </a:accent1>
      <a:accent2>
        <a:srgbClr val="008578"/>
      </a:accent2>
      <a:accent3>
        <a:srgbClr val="A3C439"/>
      </a:accent3>
      <a:accent4>
        <a:srgbClr val="28A4C3"/>
      </a:accent4>
      <a:accent5>
        <a:srgbClr val="DB7C32"/>
      </a:accent5>
      <a:accent6>
        <a:srgbClr val="F0F050"/>
      </a:accent6>
      <a:hlink>
        <a:srgbClr val="00915A"/>
      </a:hlink>
      <a:folHlink>
        <a:srgbClr val="BA3075"/>
      </a:folHlink>
    </a:clrScheme>
    <a:fontScheme name="BNPP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3175">
          <a:noFill/>
        </a:ln>
      </a:spPr>
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dirty="0" smtClean="0">
            <a:solidFill>
              <a:schemeClr val="accent4"/>
            </a:solidFill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1_BNPP-ENG-16-9">
  <a:themeElements>
    <a:clrScheme name="Personnalisé 3">
      <a:dk1>
        <a:srgbClr val="000000"/>
      </a:dk1>
      <a:lt1>
        <a:srgbClr val="FFFFFF"/>
      </a:lt1>
      <a:dk2>
        <a:srgbClr val="00915A"/>
      </a:dk2>
      <a:lt2>
        <a:srgbClr val="78848A"/>
      </a:lt2>
      <a:accent1>
        <a:srgbClr val="00AB8E"/>
      </a:accent1>
      <a:accent2>
        <a:srgbClr val="008578"/>
      </a:accent2>
      <a:accent3>
        <a:srgbClr val="A3C439"/>
      </a:accent3>
      <a:accent4>
        <a:srgbClr val="28A4C3"/>
      </a:accent4>
      <a:accent5>
        <a:srgbClr val="DB7C32"/>
      </a:accent5>
      <a:accent6>
        <a:srgbClr val="F0F050"/>
      </a:accent6>
      <a:hlink>
        <a:srgbClr val="00915A"/>
      </a:hlink>
      <a:folHlink>
        <a:srgbClr val="BA3075"/>
      </a:folHlink>
    </a:clrScheme>
    <a:fontScheme name="BNPP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3175">
          <a:noFill/>
        </a:ln>
      </a:spPr>
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dirty="0" smtClean="0">
            <a:solidFill>
              <a:schemeClr val="accent4"/>
            </a:solidFill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1_BNPP-ENG-16-9">
  <a:themeElements>
    <a:clrScheme name="Personnalisé 3">
      <a:dk1>
        <a:srgbClr val="000000"/>
      </a:dk1>
      <a:lt1>
        <a:srgbClr val="FFFFFF"/>
      </a:lt1>
      <a:dk2>
        <a:srgbClr val="00915A"/>
      </a:dk2>
      <a:lt2>
        <a:srgbClr val="78848A"/>
      </a:lt2>
      <a:accent1>
        <a:srgbClr val="00AB8E"/>
      </a:accent1>
      <a:accent2>
        <a:srgbClr val="008578"/>
      </a:accent2>
      <a:accent3>
        <a:srgbClr val="A3C439"/>
      </a:accent3>
      <a:accent4>
        <a:srgbClr val="28A4C3"/>
      </a:accent4>
      <a:accent5>
        <a:srgbClr val="DB7C32"/>
      </a:accent5>
      <a:accent6>
        <a:srgbClr val="F0F050"/>
      </a:accent6>
      <a:hlink>
        <a:srgbClr val="00915A"/>
      </a:hlink>
      <a:folHlink>
        <a:srgbClr val="BA3075"/>
      </a:folHlink>
    </a:clrScheme>
    <a:fontScheme name="BNPP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3175">
          <a:noFill/>
        </a:ln>
      </a:spPr>
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dirty="0" smtClean="0">
            <a:solidFill>
              <a:schemeClr val="accent4"/>
            </a:solidFill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Arval 21">
  <a:themeElements>
    <a:clrScheme name="Personnalisé 3">
      <a:dk1>
        <a:srgbClr val="000000"/>
      </a:dk1>
      <a:lt1>
        <a:srgbClr val="FFFFFF"/>
      </a:lt1>
      <a:dk2>
        <a:srgbClr val="00915A"/>
      </a:dk2>
      <a:lt2>
        <a:srgbClr val="78848A"/>
      </a:lt2>
      <a:accent1>
        <a:srgbClr val="00AB8E"/>
      </a:accent1>
      <a:accent2>
        <a:srgbClr val="008578"/>
      </a:accent2>
      <a:accent3>
        <a:srgbClr val="A3C439"/>
      </a:accent3>
      <a:accent4>
        <a:srgbClr val="28A4C3"/>
      </a:accent4>
      <a:accent5>
        <a:srgbClr val="DB7C32"/>
      </a:accent5>
      <a:accent6>
        <a:srgbClr val="F0F050"/>
      </a:accent6>
      <a:hlink>
        <a:srgbClr val="00915A"/>
      </a:hlink>
      <a:folHlink>
        <a:srgbClr val="BA3075"/>
      </a:folHlink>
    </a:clrScheme>
    <a:fontScheme name="BNPP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algn="l">
          <a:defRPr>
            <a:latin typeface="Ubuntu" panose="020B0504030602030204" pitchFamily="34" charset="0"/>
          </a:defRPr>
        </a:defPPr>
      </a:lstStyle>
    </a:spDef>
    <a:txDef>
      <a:spPr>
        <a:noFill/>
      </a:spPr>
      <a:bodyPr wrap="square" lIns="0" tIns="0" rIns="0" bIns="0" rtlCol="0">
        <a:noAutofit/>
      </a:bodyPr>
      <a:lstStyle>
        <a:defPPr>
          <a:defRPr sz="1400" dirty="0" smtClean="0">
            <a:solidFill>
              <a:schemeClr val="accent4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rval 21" id="{BE5DB675-DC93-48C5-B080-0396CBB994CF}" vid="{49402904-1DCB-4DD2-9B82-6DE2D09870A9}"/>
    </a:ext>
  </a:extLst>
</a:theme>
</file>

<file path=ppt/theme/themeOverride1.xml><?xml version="1.0" encoding="utf-8"?>
<a:themeOverride xmlns:a="http://schemas.openxmlformats.org/drawingml/2006/main">
  <a:clrScheme name="Personnalisé 3">
    <a:dk1>
      <a:srgbClr val="000000"/>
    </a:dk1>
    <a:lt1>
      <a:srgbClr val="FFFFFF"/>
    </a:lt1>
    <a:dk2>
      <a:srgbClr val="00915A"/>
    </a:dk2>
    <a:lt2>
      <a:srgbClr val="78848A"/>
    </a:lt2>
    <a:accent1>
      <a:srgbClr val="00AB8E"/>
    </a:accent1>
    <a:accent2>
      <a:srgbClr val="008578"/>
    </a:accent2>
    <a:accent3>
      <a:srgbClr val="A3C439"/>
    </a:accent3>
    <a:accent4>
      <a:srgbClr val="28A4C3"/>
    </a:accent4>
    <a:accent5>
      <a:srgbClr val="DB7C32"/>
    </a:accent5>
    <a:accent6>
      <a:srgbClr val="F0F050"/>
    </a:accent6>
    <a:hlink>
      <a:srgbClr val="00915A"/>
    </a:hlink>
    <a:folHlink>
      <a:srgbClr val="BA3075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C9B5B3729566B4BB1E4AC39A719819D" ma:contentTypeVersion="14" ma:contentTypeDescription="Crée un document." ma:contentTypeScope="" ma:versionID="291b7879e4be15a5a7a4b748f849c477">
  <xsd:schema xmlns:xsd="http://www.w3.org/2001/XMLSchema" xmlns:xs="http://www.w3.org/2001/XMLSchema" xmlns:p="http://schemas.microsoft.com/office/2006/metadata/properties" xmlns:ns3="17cc6fbb-80b6-48c0-a087-dc9321ed3dae" xmlns:ns4="0ffeeaa1-cb8c-4019-8c12-364cba7829cd" targetNamespace="http://schemas.microsoft.com/office/2006/metadata/properties" ma:root="true" ma:fieldsID="ab14912919a23a229f691138d486a55b" ns3:_="" ns4:_="">
    <xsd:import namespace="17cc6fbb-80b6-48c0-a087-dc9321ed3dae"/>
    <xsd:import namespace="0ffeeaa1-cb8c-4019-8c12-364cba7829c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SearchPropertie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cc6fbb-80b6-48c0-a087-dc9321ed3da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11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_activity" ma:index="16" nillable="true" ma:displayName="_activity" ma:hidden="true" ma:internalName="_activity">
      <xsd:simpleType>
        <xsd:restriction base="dms:Note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feeaa1-cb8c-4019-8c12-364cba7829cd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9" nillable="true" ma:displayName="Partage du hachage d’indicateur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17cc6fbb-80b6-48c0-a087-dc9321ed3dae" xsi:nil="true"/>
  </documentManagement>
</p:properties>
</file>

<file path=customXml/itemProps1.xml><?xml version="1.0" encoding="utf-8"?>
<ds:datastoreItem xmlns:ds="http://schemas.openxmlformats.org/officeDocument/2006/customXml" ds:itemID="{23A81DAF-7300-4033-AB54-F427170DF05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AB69619-8954-4369-9A4F-7648078FDA4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7cc6fbb-80b6-48c0-a087-dc9321ed3dae"/>
    <ds:schemaRef ds:uri="0ffeeaa1-cb8c-4019-8c12-364cba7829c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EFBECB7-9145-454F-B7DB-ADDBDA1B432D}">
  <ds:schemaRefs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purl.org/dc/dcmitype/"/>
    <ds:schemaRef ds:uri="0ffeeaa1-cb8c-4019-8c12-364cba7829cd"/>
    <ds:schemaRef ds:uri="http://purl.org/dc/elements/1.1/"/>
    <ds:schemaRef ds:uri="http://www.w3.org/XML/1998/namespace"/>
    <ds:schemaRef ds:uri="http://schemas.openxmlformats.org/package/2006/metadata/core-properties"/>
    <ds:schemaRef ds:uri="17cc6fbb-80b6-48c0-a087-dc9321ed3da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5</TotalTime>
  <Words>582</Words>
  <Application>Microsoft Office PowerPoint</Application>
  <PresentationFormat>Grand écran</PresentationFormat>
  <Paragraphs>139</Paragraphs>
  <Slides>1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13</vt:i4>
      </vt:variant>
      <vt:variant>
        <vt:lpstr>Thème</vt:lpstr>
      </vt:variant>
      <vt:variant>
        <vt:i4>9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1</vt:i4>
      </vt:variant>
    </vt:vector>
  </HeadingPairs>
  <TitlesOfParts>
    <vt:vector size="34" baseType="lpstr">
      <vt:lpstr>Aptos</vt:lpstr>
      <vt:lpstr>Arial</vt:lpstr>
      <vt:lpstr>Arial Narrow</vt:lpstr>
      <vt:lpstr>BNPP Expanded Sans</vt:lpstr>
      <vt:lpstr>BNPP Sans</vt:lpstr>
      <vt:lpstr>BNPP Sans Condensed</vt:lpstr>
      <vt:lpstr>BNPP Sans Light</vt:lpstr>
      <vt:lpstr>BNPP Slab Serif</vt:lpstr>
      <vt:lpstr>BNPPSans-Light</vt:lpstr>
      <vt:lpstr>Calibri</vt:lpstr>
      <vt:lpstr>Courier New</vt:lpstr>
      <vt:lpstr>Wingdings</vt:lpstr>
      <vt:lpstr>Wingdings 3</vt:lpstr>
      <vt:lpstr>ARVAL - Inside</vt:lpstr>
      <vt:lpstr>Cover</vt:lpstr>
      <vt:lpstr>Agenda</vt:lpstr>
      <vt:lpstr>Chapter</vt:lpstr>
      <vt:lpstr>Thank you</vt:lpstr>
      <vt:lpstr>2_BNPP-ENG-16-9</vt:lpstr>
      <vt:lpstr>1_BNPP-ENG-16-9</vt:lpstr>
      <vt:lpstr>1_BNPP-ENG-16-9</vt:lpstr>
      <vt:lpstr>Arval 21</vt:lpstr>
      <vt:lpstr>Diapositive think-cell</vt:lpstr>
      <vt:lpstr>How to implement a banner via gtm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on multi-lines</dc:title>
  <dc:creator>Thierry Tarraso</dc:creator>
  <cp:lastModifiedBy>Ruoyun LIU</cp:lastModifiedBy>
  <cp:revision>4</cp:revision>
  <dcterms:created xsi:type="dcterms:W3CDTF">2024-07-01T09:08:58Z</dcterms:created>
  <dcterms:modified xsi:type="dcterms:W3CDTF">2025-03-27T15:41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ffbc0b8-e97b-47d1-beac-cb0955d66f3b_Enabled">
    <vt:lpwstr>true</vt:lpwstr>
  </property>
  <property fmtid="{D5CDD505-2E9C-101B-9397-08002B2CF9AE}" pid="3" name="MSIP_Label_8ffbc0b8-e97b-47d1-beac-cb0955d66f3b_SetDate">
    <vt:lpwstr>2024-09-30T12:38:10Z</vt:lpwstr>
  </property>
  <property fmtid="{D5CDD505-2E9C-101B-9397-08002B2CF9AE}" pid="4" name="MSIP_Label_8ffbc0b8-e97b-47d1-beac-cb0955d66f3b_Method">
    <vt:lpwstr>Privileged</vt:lpwstr>
  </property>
  <property fmtid="{D5CDD505-2E9C-101B-9397-08002B2CF9AE}" pid="5" name="MSIP_Label_8ffbc0b8-e97b-47d1-beac-cb0955d66f3b_Name">
    <vt:lpwstr>8ffbc0b8-e97b-47d1-beac-cb0955d66f3b</vt:lpwstr>
  </property>
  <property fmtid="{D5CDD505-2E9C-101B-9397-08002B2CF9AE}" pid="6" name="MSIP_Label_8ffbc0b8-e97b-47d1-beac-cb0955d66f3b_SiteId">
    <vt:lpwstr>614f9c25-bffa-42c7-86d8-964101f55fa2</vt:lpwstr>
  </property>
  <property fmtid="{D5CDD505-2E9C-101B-9397-08002B2CF9AE}" pid="7" name="MSIP_Label_8ffbc0b8-e97b-47d1-beac-cb0955d66f3b_ActionId">
    <vt:lpwstr>213006f9-dedb-4a9d-bf5f-14e9382571bc</vt:lpwstr>
  </property>
  <property fmtid="{D5CDD505-2E9C-101B-9397-08002B2CF9AE}" pid="8" name="MSIP_Label_8ffbc0b8-e97b-47d1-beac-cb0955d66f3b_ContentBits">
    <vt:lpwstr>2</vt:lpwstr>
  </property>
  <property fmtid="{D5CDD505-2E9C-101B-9397-08002B2CF9AE}" pid="9" name="ClassificationContentMarkingFooterLocations">
    <vt:lpwstr>ARVAL - Inside:8\Cover:6\Agenda:8\Chapter:8\Thank you:6</vt:lpwstr>
  </property>
  <property fmtid="{D5CDD505-2E9C-101B-9397-08002B2CF9AE}" pid="10" name="ClassificationContentMarkingFooterText">
    <vt:lpwstr>Classification : Internal</vt:lpwstr>
  </property>
  <property fmtid="{D5CDD505-2E9C-101B-9397-08002B2CF9AE}" pid="11" name="ContentTypeId">
    <vt:lpwstr>0x0101002C9B5B3729566B4BB1E4AC39A719819D</vt:lpwstr>
  </property>
</Properties>
</file>